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4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5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6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7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8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9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0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1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2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3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14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5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16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7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24"/>
  </p:notesMasterIdLst>
  <p:handoutMasterIdLst>
    <p:handoutMasterId r:id="rId25"/>
  </p:handoutMasterIdLst>
  <p:sldIdLst>
    <p:sldId id="610" r:id="rId2"/>
    <p:sldId id="927" r:id="rId3"/>
    <p:sldId id="1025" r:id="rId4"/>
    <p:sldId id="736" r:id="rId5"/>
    <p:sldId id="738" r:id="rId6"/>
    <p:sldId id="1004" r:id="rId7"/>
    <p:sldId id="1005" r:id="rId8"/>
    <p:sldId id="1055" r:id="rId9"/>
    <p:sldId id="1060" r:id="rId10"/>
    <p:sldId id="1007" r:id="rId11"/>
    <p:sldId id="1008" r:id="rId12"/>
    <p:sldId id="1009" r:id="rId13"/>
    <p:sldId id="1010" r:id="rId14"/>
    <p:sldId id="1011" r:id="rId15"/>
    <p:sldId id="1012" r:id="rId16"/>
    <p:sldId id="1013" r:id="rId17"/>
    <p:sldId id="1014" r:id="rId18"/>
    <p:sldId id="1015" r:id="rId19"/>
    <p:sldId id="1079" r:id="rId20"/>
    <p:sldId id="1017" r:id="rId21"/>
    <p:sldId id="1016" r:id="rId22"/>
    <p:sldId id="278" r:id="rId23"/>
  </p:sldIdLst>
  <p:sldSz cx="12192000" cy="6858000"/>
  <p:notesSz cx="9928225" cy="6797675"/>
  <p:custShowLst>
    <p:custShow name="Format Guide Workshop" id="0">
      <p:sldLst/>
    </p:custShow>
  </p:custShowLst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4096"/>
    <a:srgbClr val="F6BE98"/>
    <a:srgbClr val="7F8DA0"/>
    <a:srgbClr val="3F5471"/>
    <a:srgbClr val="BFC6CF"/>
    <a:srgbClr val="BFBFBF"/>
    <a:srgbClr val="BB6DAE"/>
    <a:srgbClr val="A53D94"/>
    <a:srgbClr val="9F9F9F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21861" autoAdjust="0"/>
    <p:restoredTop sz="95785" autoAdjust="0"/>
  </p:normalViewPr>
  <p:slideViewPr>
    <p:cSldViewPr snapToGrid="0">
      <p:cViewPr varScale="1">
        <p:scale>
          <a:sx n="61" d="100"/>
          <a:sy n="61" d="100"/>
        </p:scale>
        <p:origin x="60" y="1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4302231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700" y="2"/>
            <a:ext cx="4302231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/10/20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456613"/>
            <a:ext cx="4302231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700" y="6456613"/>
            <a:ext cx="4302231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Nº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88332"/>
            <a:ext cx="9925928" cy="1509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747" y="2"/>
            <a:ext cx="4184486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700" y="2"/>
            <a:ext cx="4186780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1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54038" y="204788"/>
            <a:ext cx="8820150" cy="49609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350" y="5370467"/>
            <a:ext cx="9661527" cy="65963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747" y="6456613"/>
            <a:ext cx="4184486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701" y="6456613"/>
            <a:ext cx="4171177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42" userDrawn="1">
          <p15:clr>
            <a:srgbClr val="F26B43"/>
          </p15:clr>
        </p15:guide>
        <p15:guide id="2" pos="312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603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6690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4075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3732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156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9428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3596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4345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0574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169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784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294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4038" y="196850"/>
            <a:ext cx="8820150" cy="4960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592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048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7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764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5470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1579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566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53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0114" name="Picture 2" descr="http://www.fronteraenergy.ca/content/uploads/2018/05/BANNER-Q1_ENGLISH-02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03" t="2350" r="-1" b="1"/>
          <a:stretch/>
        </p:blipFill>
        <p:spPr bwMode="auto">
          <a:xfrm>
            <a:off x="0" y="-4"/>
            <a:ext cx="12199038" cy="4974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845" y="5431121"/>
            <a:ext cx="3000830" cy="66239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36625" y="5159375"/>
            <a:ext cx="6019800" cy="544513"/>
          </a:xfrm>
        </p:spPr>
        <p:txBody>
          <a:bodyPr lIns="45720" tIns="0" rIns="0" bIns="0" anchor="ctr"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itle text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936625" y="5965146"/>
            <a:ext cx="6019800" cy="292777"/>
          </a:xfrm>
        </p:spPr>
        <p:txBody>
          <a:bodyPr lIns="45720" tIns="0" rIns="0" bIns="0" anchor="ctr"/>
          <a:lstStyle>
            <a:lvl1pPr>
              <a:defRPr sz="1600">
                <a:solidFill>
                  <a:srgbClr val="7B2D6E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ubtitle text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6302830"/>
            <a:ext cx="1131661" cy="292777"/>
          </a:xfrm>
        </p:spPr>
        <p:txBody>
          <a:bodyPr lIns="45720" tIns="0" rIns="0" bIns="0" anchor="ctr"/>
          <a:lstStyle>
            <a:lvl1pPr>
              <a:defRPr sz="1600">
                <a:solidFill>
                  <a:srgbClr val="7B2D6E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3969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/>
          <a:lstStyle>
            <a:lvl1pPr>
              <a:defRPr sz="3200">
                <a:solidFill>
                  <a:srgbClr val="452D69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268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9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9901088" y="6258503"/>
            <a:ext cx="0" cy="457200"/>
          </a:xfrm>
          <a:prstGeom prst="line">
            <a:avLst/>
          </a:prstGeom>
          <a:ln w="19050" cap="sq">
            <a:solidFill>
              <a:srgbClr val="7F7F7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2538" y="6322581"/>
            <a:ext cx="1490662" cy="32904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9348639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E63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63E9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19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4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k object 16"/>
          <p:cNvSpPr/>
          <p:nvPr userDrawn="1"/>
        </p:nvSpPr>
        <p:spPr>
          <a:xfrm>
            <a:off x="0" y="-27710"/>
            <a:ext cx="12192000" cy="6885710"/>
          </a:xfrm>
          <a:prstGeom prst="rect">
            <a:avLst/>
          </a:prstGeom>
          <a:blipFill>
            <a:blip r:embed="rId2" cstate="print"/>
            <a:srcRect/>
            <a:stretch>
              <a:fillRect t="-14760" r="10" b="-1793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://www.fronteraenergy.ca/content/uploads/2018/05/BANNER-Q1_ENGLISH-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03" t="2350" r="-1" b="1"/>
          <a:stretch/>
        </p:blipFill>
        <p:spPr bwMode="auto">
          <a:xfrm>
            <a:off x="0" y="-4"/>
            <a:ext cx="12199038" cy="4974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845" y="5431121"/>
            <a:ext cx="3000830" cy="662392"/>
          </a:xfrm>
          <a:prstGeom prst="rect">
            <a:avLst/>
          </a:prstGeom>
        </p:spPr>
      </p:pic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36625" y="5159375"/>
            <a:ext cx="6019800" cy="544513"/>
          </a:xfrm>
        </p:spPr>
        <p:txBody>
          <a:bodyPr lIns="45720" tIns="0" rIns="0" bIns="0" anchor="ctr"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itle tex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936625" y="5965146"/>
            <a:ext cx="6019800" cy="292777"/>
          </a:xfrm>
        </p:spPr>
        <p:txBody>
          <a:bodyPr lIns="45720" tIns="0" rIns="0" bIns="0" anchor="ctr"/>
          <a:lstStyle>
            <a:lvl1pPr>
              <a:defRPr sz="1600">
                <a:solidFill>
                  <a:srgbClr val="7B2D6E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subtitle text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6302830"/>
            <a:ext cx="1131661" cy="292777"/>
          </a:xfrm>
        </p:spPr>
        <p:txBody>
          <a:bodyPr lIns="45720" tIns="0" rIns="0" bIns="0" anchor="ctr"/>
          <a:lstStyle>
            <a:lvl1pPr>
              <a:defRPr sz="1600">
                <a:solidFill>
                  <a:srgbClr val="7B2D6E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9901088" y="6258503"/>
            <a:ext cx="0" cy="457200"/>
          </a:xfrm>
          <a:prstGeom prst="line">
            <a:avLst/>
          </a:prstGeom>
          <a:ln w="19050" cap="sq">
            <a:solidFill>
              <a:srgbClr val="7F7F7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2538" y="6322581"/>
            <a:ext cx="1490662" cy="32904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9348639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7F7F7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rgbClr val="7F7F7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452D69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452D69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452D69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452D6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452D6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95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2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B6187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452D69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E63E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E63E9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58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6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k object 16"/>
          <p:cNvSpPr/>
          <p:nvPr userDrawn="1"/>
        </p:nvSpPr>
        <p:spPr>
          <a:xfrm>
            <a:off x="0" y="-27710"/>
            <a:ext cx="12192000" cy="6885710"/>
          </a:xfrm>
          <a:prstGeom prst="rect">
            <a:avLst/>
          </a:prstGeom>
          <a:blipFill>
            <a:blip r:embed="rId2" cstate="print"/>
            <a:srcRect/>
            <a:stretch>
              <a:fillRect t="-14760" r="10" b="-17934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E63E9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E63E9E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rgbClr val="E63E9E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E63E9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E63E9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E63E9E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E63E9E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E63E9E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B6187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452D69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rgbClr val="B6187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452D69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98014-01_SteerCo 4_vf_long version_13dic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3625846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56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2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1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3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8" r:id="rId40"/>
    <p:sldLayoutId id="2147485127" r:id="rId41"/>
    <p:sldLayoutId id="2147485169" r:id="rId42"/>
    <p:sldLayoutId id="2147485126" r:id="rId43"/>
    <p:sldLayoutId id="2147485170" r:id="rId44"/>
    <p:sldLayoutId id="2147485153" r:id="rId45"/>
    <p:sldLayoutId id="2147485171" r:id="rId46"/>
    <p:sldLayoutId id="2147485128" r:id="rId47"/>
    <p:sldLayoutId id="2147485129" r:id="rId48"/>
    <p:sldLayoutId id="2147485130" r:id="rId49"/>
    <p:sldLayoutId id="2147485131" r:id="rId50"/>
    <p:sldLayoutId id="2147485145" r:id="rId51"/>
    <p:sldLayoutId id="2147485133" r:id="rId52"/>
    <p:sldLayoutId id="2147485144" r:id="rId53"/>
    <p:sldLayoutId id="2147485134" r:id="rId54"/>
    <p:sldLayoutId id="2147485146" r:id="rId55"/>
    <p:sldLayoutId id="2147485160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452D69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7F7F7F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7F7F7F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452D69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7F7F7F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rgbClr val="452D69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rgbClr val="452D69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9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125.xml"/><Relationship Id="rId21" Type="http://schemas.openxmlformats.org/officeDocument/2006/relationships/tags" Target="../tags/tag120.xml"/><Relationship Id="rId42" Type="http://schemas.openxmlformats.org/officeDocument/2006/relationships/tags" Target="../tags/tag141.xml"/><Relationship Id="rId47" Type="http://schemas.openxmlformats.org/officeDocument/2006/relationships/tags" Target="../tags/tag146.xml"/><Relationship Id="rId63" Type="http://schemas.openxmlformats.org/officeDocument/2006/relationships/tags" Target="../tags/tag162.xml"/><Relationship Id="rId68" Type="http://schemas.openxmlformats.org/officeDocument/2006/relationships/tags" Target="../tags/tag167.xml"/><Relationship Id="rId16" Type="http://schemas.openxmlformats.org/officeDocument/2006/relationships/tags" Target="../tags/tag115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37" Type="http://schemas.openxmlformats.org/officeDocument/2006/relationships/tags" Target="../tags/tag136.xml"/><Relationship Id="rId40" Type="http://schemas.openxmlformats.org/officeDocument/2006/relationships/tags" Target="../tags/tag139.xml"/><Relationship Id="rId45" Type="http://schemas.openxmlformats.org/officeDocument/2006/relationships/tags" Target="../tags/tag144.xml"/><Relationship Id="rId53" Type="http://schemas.openxmlformats.org/officeDocument/2006/relationships/tags" Target="../tags/tag152.xml"/><Relationship Id="rId58" Type="http://schemas.openxmlformats.org/officeDocument/2006/relationships/tags" Target="../tags/tag157.xml"/><Relationship Id="rId66" Type="http://schemas.openxmlformats.org/officeDocument/2006/relationships/tags" Target="../tags/tag165.xml"/><Relationship Id="rId74" Type="http://schemas.openxmlformats.org/officeDocument/2006/relationships/tags" Target="../tags/tag173.xml"/><Relationship Id="rId79" Type="http://schemas.openxmlformats.org/officeDocument/2006/relationships/oleObject" Target="../embeddings/oleObject20.bin"/><Relationship Id="rId5" Type="http://schemas.openxmlformats.org/officeDocument/2006/relationships/tags" Target="../tags/tag104.xml"/><Relationship Id="rId61" Type="http://schemas.openxmlformats.org/officeDocument/2006/relationships/tags" Target="../tags/tag160.xml"/><Relationship Id="rId19" Type="http://schemas.openxmlformats.org/officeDocument/2006/relationships/tags" Target="../tags/tag11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tags" Target="../tags/tag134.xml"/><Relationship Id="rId43" Type="http://schemas.openxmlformats.org/officeDocument/2006/relationships/tags" Target="../tags/tag142.xml"/><Relationship Id="rId48" Type="http://schemas.openxmlformats.org/officeDocument/2006/relationships/tags" Target="../tags/tag147.xml"/><Relationship Id="rId56" Type="http://schemas.openxmlformats.org/officeDocument/2006/relationships/tags" Target="../tags/tag155.xml"/><Relationship Id="rId64" Type="http://schemas.openxmlformats.org/officeDocument/2006/relationships/tags" Target="../tags/tag163.xml"/><Relationship Id="rId69" Type="http://schemas.openxmlformats.org/officeDocument/2006/relationships/tags" Target="../tags/tag168.xml"/><Relationship Id="rId77" Type="http://schemas.openxmlformats.org/officeDocument/2006/relationships/slideLayout" Target="../slideLayouts/slideLayout2.xml"/><Relationship Id="rId8" Type="http://schemas.openxmlformats.org/officeDocument/2006/relationships/tags" Target="../tags/tag107.xml"/><Relationship Id="rId51" Type="http://schemas.openxmlformats.org/officeDocument/2006/relationships/tags" Target="../tags/tag150.xml"/><Relationship Id="rId72" Type="http://schemas.openxmlformats.org/officeDocument/2006/relationships/tags" Target="../tags/tag171.xml"/><Relationship Id="rId80" Type="http://schemas.openxmlformats.org/officeDocument/2006/relationships/image" Target="../media/image14.emf"/><Relationship Id="rId3" Type="http://schemas.openxmlformats.org/officeDocument/2006/relationships/tags" Target="../tags/tag102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33" Type="http://schemas.openxmlformats.org/officeDocument/2006/relationships/tags" Target="../tags/tag132.xml"/><Relationship Id="rId38" Type="http://schemas.openxmlformats.org/officeDocument/2006/relationships/tags" Target="../tags/tag137.xml"/><Relationship Id="rId46" Type="http://schemas.openxmlformats.org/officeDocument/2006/relationships/tags" Target="../tags/tag145.xml"/><Relationship Id="rId59" Type="http://schemas.openxmlformats.org/officeDocument/2006/relationships/tags" Target="../tags/tag158.xml"/><Relationship Id="rId67" Type="http://schemas.openxmlformats.org/officeDocument/2006/relationships/tags" Target="../tags/tag166.xml"/><Relationship Id="rId20" Type="http://schemas.openxmlformats.org/officeDocument/2006/relationships/tags" Target="../tags/tag119.xml"/><Relationship Id="rId41" Type="http://schemas.openxmlformats.org/officeDocument/2006/relationships/tags" Target="../tags/tag140.xml"/><Relationship Id="rId54" Type="http://schemas.openxmlformats.org/officeDocument/2006/relationships/tags" Target="../tags/tag153.xml"/><Relationship Id="rId62" Type="http://schemas.openxmlformats.org/officeDocument/2006/relationships/tags" Target="../tags/tag161.xml"/><Relationship Id="rId70" Type="http://schemas.openxmlformats.org/officeDocument/2006/relationships/tags" Target="../tags/tag169.xml"/><Relationship Id="rId75" Type="http://schemas.openxmlformats.org/officeDocument/2006/relationships/tags" Target="../tags/tag17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5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tags" Target="../tags/tag135.xml"/><Relationship Id="rId49" Type="http://schemas.openxmlformats.org/officeDocument/2006/relationships/tags" Target="../tags/tag148.xml"/><Relationship Id="rId57" Type="http://schemas.openxmlformats.org/officeDocument/2006/relationships/tags" Target="../tags/tag156.xml"/><Relationship Id="rId10" Type="http://schemas.openxmlformats.org/officeDocument/2006/relationships/tags" Target="../tags/tag109.xml"/><Relationship Id="rId31" Type="http://schemas.openxmlformats.org/officeDocument/2006/relationships/tags" Target="../tags/tag130.xml"/><Relationship Id="rId44" Type="http://schemas.openxmlformats.org/officeDocument/2006/relationships/tags" Target="../tags/tag143.xml"/><Relationship Id="rId52" Type="http://schemas.openxmlformats.org/officeDocument/2006/relationships/tags" Target="../tags/tag151.xml"/><Relationship Id="rId60" Type="http://schemas.openxmlformats.org/officeDocument/2006/relationships/tags" Target="../tags/tag159.xml"/><Relationship Id="rId65" Type="http://schemas.openxmlformats.org/officeDocument/2006/relationships/tags" Target="../tags/tag164.xml"/><Relationship Id="rId73" Type="http://schemas.openxmlformats.org/officeDocument/2006/relationships/tags" Target="../tags/tag172.xml"/><Relationship Id="rId78" Type="http://schemas.openxmlformats.org/officeDocument/2006/relationships/notesSlide" Target="../notesSlides/notesSlide8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39" Type="http://schemas.openxmlformats.org/officeDocument/2006/relationships/tags" Target="../tags/tag138.xml"/><Relationship Id="rId34" Type="http://schemas.openxmlformats.org/officeDocument/2006/relationships/tags" Target="../tags/tag133.xml"/><Relationship Id="rId50" Type="http://schemas.openxmlformats.org/officeDocument/2006/relationships/tags" Target="../tags/tag149.xml"/><Relationship Id="rId55" Type="http://schemas.openxmlformats.org/officeDocument/2006/relationships/tags" Target="../tags/tag154.xml"/><Relationship Id="rId76" Type="http://schemas.openxmlformats.org/officeDocument/2006/relationships/tags" Target="../tags/tag175.xml"/><Relationship Id="rId7" Type="http://schemas.openxmlformats.org/officeDocument/2006/relationships/tags" Target="../tags/tag106.xml"/><Relationship Id="rId71" Type="http://schemas.openxmlformats.org/officeDocument/2006/relationships/tags" Target="../tags/tag170.xml"/><Relationship Id="rId2" Type="http://schemas.openxmlformats.org/officeDocument/2006/relationships/tags" Target="../tags/tag101.xml"/><Relationship Id="rId29" Type="http://schemas.openxmlformats.org/officeDocument/2006/relationships/tags" Target="../tags/tag12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17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76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18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79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image" Target="../media/image13.emf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oleObject" Target="../embeddings/oleObject23.bin"/><Relationship Id="rId2" Type="http://schemas.openxmlformats.org/officeDocument/2006/relationships/tags" Target="../tags/tag18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86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18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84.xml"/><Relationship Id="rId9" Type="http://schemas.openxmlformats.org/officeDocument/2006/relationships/tags" Target="../tags/tag18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image" Target="../media/image14.emf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190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94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19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92.xml"/><Relationship Id="rId9" Type="http://schemas.openxmlformats.org/officeDocument/2006/relationships/tags" Target="../tags/tag19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14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201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20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10" Type="http://schemas.openxmlformats.org/officeDocument/2006/relationships/image" Target="../media/image14.emf"/><Relationship Id="rId4" Type="http://schemas.openxmlformats.org/officeDocument/2006/relationships/tags" Target="../tags/tag207.xml"/><Relationship Id="rId9" Type="http://schemas.openxmlformats.org/officeDocument/2006/relationships/oleObject" Target="../embeddings/oleObject28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11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10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14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13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20.xml"/><Relationship Id="rId11" Type="http://schemas.openxmlformats.org/officeDocument/2006/relationships/image" Target="../media/image14.emf"/><Relationship Id="rId5" Type="http://schemas.openxmlformats.org/officeDocument/2006/relationships/tags" Target="../tags/tag219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18.xml"/><Relationship Id="rId9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10" Type="http://schemas.openxmlformats.org/officeDocument/2006/relationships/slide" Target="slide5.xml"/><Relationship Id="rId4" Type="http://schemas.openxmlformats.org/officeDocument/2006/relationships/tags" Target="../tags/tag73.xml"/><Relationship Id="rId9" Type="http://schemas.openxmlformats.org/officeDocument/2006/relationships/slide" Target="slide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image" Target="../media/image13.emf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8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8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8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9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5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13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97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9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ject Avanza- </a:t>
            </a:r>
            <a:r>
              <a:rPr lang="en-US" dirty="0" err="1"/>
              <a:t>SCM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SCM</a:t>
            </a:r>
            <a:r>
              <a:rPr lang="en-US" dirty="0"/>
              <a:t> Upda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36625" y="6302830"/>
            <a:ext cx="1542415" cy="301170"/>
          </a:xfrm>
        </p:spPr>
        <p:txBody>
          <a:bodyPr/>
          <a:lstStyle/>
          <a:p>
            <a:r>
              <a:rPr lang="en-US" sz="1200" dirty="0"/>
              <a:t>December 13,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391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Object 11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970" name="think-cell Slide" r:id="rId79" imgW="536" imgH="535" progId="TCLayout.ActiveDocument.1">
                  <p:embed/>
                </p:oleObj>
              </mc:Choice>
              <mc:Fallback>
                <p:oleObj name="think-cell Slide" r:id="rId79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/>
          <a:lstStyle/>
          <a:p>
            <a:r>
              <a:rPr lang="en-US" dirty="0"/>
              <a:t>Alignment with corporate planning process will ensure accurate demand forecasts</a:t>
            </a:r>
          </a:p>
        </p:txBody>
      </p:sp>
      <p:sp>
        <p:nvSpPr>
          <p:cNvPr id="503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81488" y="1814513"/>
            <a:ext cx="931863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8F3871F-C276-4D6A-9F40-34D485824F6F}" type="datetime'''S''''''''''''e''''''''''''''''''''''''''''''p'''">
              <a:rPr lang="en-US" altLang="en-US" sz="1000">
                <a:sym typeface="+mn-lt"/>
              </a:rPr>
              <a:pPr/>
              <a:t>Sep</a:t>
            </a:fld>
            <a:endParaRPr lang="en-US" sz="1000" dirty="0">
              <a:sym typeface="+mn-lt"/>
            </a:endParaRPr>
          </a:p>
        </p:txBody>
      </p:sp>
      <p:sp>
        <p:nvSpPr>
          <p:cNvPr id="505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213350" y="1814513"/>
            <a:ext cx="1803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AFA7CC6-D4C2-47F2-B14F-8E4F277000ED}" type="datetime'''''''''''''''''''''''''''''''''''''''''O''''''''c''t'">
              <a:rPr lang="en-US" altLang="en-US" sz="1000">
                <a:sym typeface="+mn-lt"/>
              </a:rPr>
              <a:pPr/>
              <a:t>Oct</a:t>
            </a:fld>
            <a:endParaRPr lang="en-US" sz="1000" dirty="0">
              <a:sym typeface="+mn-lt"/>
            </a:endParaRPr>
          </a:p>
        </p:txBody>
      </p:sp>
      <p:sp>
        <p:nvSpPr>
          <p:cNvPr id="274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16750" y="1814513"/>
            <a:ext cx="174625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54A4B48-861F-4BFA-8058-ED37CBE12EC0}" type="datetime'''''''''N''''''''''''''''o''v'''''''''''''''''''''''''''">
              <a:rPr lang="en-US" altLang="en-US" sz="1000">
                <a:sym typeface="+mn-lt"/>
              </a:rPr>
              <a:pPr/>
              <a:t>Nov</a:t>
            </a:fld>
            <a:endParaRPr lang="en-US" sz="1000" dirty="0">
              <a:sym typeface="+mn-lt"/>
            </a:endParaRPr>
          </a:p>
        </p:txBody>
      </p:sp>
      <p:sp>
        <p:nvSpPr>
          <p:cNvPr id="276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763000" y="1814513"/>
            <a:ext cx="1804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322FB7A-2BEC-4719-AF30-1ECBE24CC6BB}" type="datetime'''''''''''''''''D''e''c'''''''''''''''''''''''''''''''">
              <a:rPr lang="en-US" altLang="en-US" sz="1000">
                <a:sym typeface="+mn-lt"/>
              </a:rPr>
              <a:pPr/>
              <a:t>Dec</a:t>
            </a:fld>
            <a:endParaRPr lang="en-US" sz="1000" dirty="0">
              <a:sym typeface="+mn-lt"/>
            </a:endParaRPr>
          </a:p>
        </p:txBody>
      </p:sp>
      <p:sp>
        <p:nvSpPr>
          <p:cNvPr id="278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567988" y="1814513"/>
            <a:ext cx="104775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8F28025-B769-491E-806B-C44E35BEF345}" type="datetime'''''''''J''''''''''''''''''''''''''a''''''''''''n'''''''">
              <a:rPr lang="en-US" altLang="en-US" sz="1000">
                <a:sym typeface="+mn-lt"/>
              </a:rPr>
              <a:pPr/>
              <a:t>Jan</a:t>
            </a:fld>
            <a:endParaRPr lang="en-US" sz="1000" dirty="0">
              <a:sym typeface="+mn-lt"/>
            </a:endParaRPr>
          </a:p>
        </p:txBody>
      </p:sp>
      <p:sp>
        <p:nvSpPr>
          <p:cNvPr id="111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281487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3D096F3-A783-41D7-AEAE-FA83A6F5941D}" type="datetime'''''''''''''''''''''''''''15''''''''''''''''''''''''.'''''''''">
              <a:rPr lang="en-US" altLang="en-US" sz="1000">
                <a:sym typeface="+mn-lt"/>
              </a:rPr>
              <a:pPr/>
              <a:t>15.</a:t>
            </a:fld>
            <a:endParaRPr lang="en-US" sz="1000" dirty="0">
              <a:sym typeface="+mn-lt"/>
            </a:endParaRPr>
          </a:p>
        </p:txBody>
      </p:sp>
      <p:sp>
        <p:nvSpPr>
          <p:cNvPr id="112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689475" y="2049463"/>
            <a:ext cx="406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5E11574-29E8-46ED-95A2-BC99DF39D489}" type="datetime'''''''''''''''''2''''''''''2''''''''''''''''''''''''''.'''">
              <a:rPr lang="en-US" altLang="en-US" sz="1000">
                <a:sym typeface="+mn-lt"/>
              </a:rPr>
              <a:pPr/>
              <a:t>22.</a:t>
            </a:fld>
            <a:endParaRPr lang="en-US" sz="1000" dirty="0">
              <a:sym typeface="+mn-lt"/>
            </a:endParaRPr>
          </a:p>
        </p:txBody>
      </p:sp>
      <p:sp>
        <p:nvSpPr>
          <p:cNvPr id="499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95875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823BB5E-17C0-4E08-A807-D4752FD74C1E}" type="datetime'29''''''''''''''.'''''''''''''">
              <a:rPr lang="en-US" altLang="en-US" sz="1000">
                <a:sym typeface="+mn-lt"/>
              </a:rPr>
              <a:pPr/>
              <a:t>29.</a:t>
            </a:fld>
            <a:endParaRPr lang="en-US" sz="1000" dirty="0">
              <a:sym typeface="+mn-lt"/>
            </a:endParaRPr>
          </a:p>
        </p:txBody>
      </p:sp>
      <p:sp>
        <p:nvSpPr>
          <p:cNvPr id="500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503863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4D2AC15-50DB-4DD4-84C6-3D3B2F4F3221}" type="datetime'''''''''''''''''''''''0''''''''''6''''''''''.'''''''''''''''">
              <a:rPr lang="en-US" altLang="en-US" sz="1000">
                <a:sym typeface="+mn-lt"/>
              </a:rPr>
              <a:pPr/>
              <a:t>06.</a:t>
            </a:fld>
            <a:endParaRPr lang="en-US" sz="1000" dirty="0">
              <a:sym typeface="+mn-lt"/>
            </a:endParaRPr>
          </a:p>
        </p:txBody>
      </p:sp>
      <p:sp>
        <p:nvSpPr>
          <p:cNvPr id="501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11850" y="2049463"/>
            <a:ext cx="406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8A86535-054A-44E9-8E7E-B9980E7D5E0B}" type="datetime'''''''''''''''''''''''''''''''''''''13''''''''''''''''.'''''">
              <a:rPr lang="en-US" altLang="en-US" sz="1000">
                <a:sym typeface="+mn-lt"/>
              </a:rPr>
              <a:pPr/>
              <a:t>13.</a:t>
            </a:fld>
            <a:endParaRPr lang="en-US" sz="1000" dirty="0">
              <a:sym typeface="+mn-lt"/>
            </a:endParaRPr>
          </a:p>
        </p:txBody>
      </p:sp>
      <p:sp>
        <p:nvSpPr>
          <p:cNvPr id="502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18250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667AE0C-9F9E-4E01-A7D7-64EAF6AD5D6E}" type="datetime'''''''''''2''''''''''''''''''0''''''''''.'''''''''''''''''">
              <a:rPr lang="en-US" altLang="en-US" sz="1000">
                <a:sym typeface="+mn-lt"/>
              </a:rPr>
              <a:pPr/>
              <a:t>20.</a:t>
            </a:fld>
            <a:endParaRPr lang="en-US" sz="1000" dirty="0">
              <a:sym typeface="+mn-lt"/>
            </a:endParaRPr>
          </a:p>
        </p:txBody>
      </p:sp>
      <p:sp>
        <p:nvSpPr>
          <p:cNvPr id="481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26238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1B907E4-5DE2-461C-A0A7-C46B04A184C5}" type="datetime'''''''2''''''''''''7''''''''''''''''''''''''''''''''.'''''''''">
              <a:rPr lang="en-US" altLang="en-US" sz="1000"/>
              <a:pPr/>
              <a:t>27.</a:t>
            </a:fld>
            <a:endParaRPr lang="en-US" sz="1000" dirty="0">
              <a:sym typeface="+mn-lt"/>
            </a:endParaRPr>
          </a:p>
        </p:txBody>
      </p:sp>
      <p:sp>
        <p:nvSpPr>
          <p:cNvPr id="482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134225" y="2049463"/>
            <a:ext cx="406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CC9883D-DE6F-4934-9F1C-97E92BB2D90F}" type="datetime'''''''''''''''''''''''''''''''0''''''''''''3''''''''.'''''''''">
              <a:rPr lang="en-US" altLang="en-US" sz="1000">
                <a:sym typeface="+mn-lt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03.</a:t>
            </a:fld>
            <a:endParaRPr lang="en-US" sz="1000" dirty="0">
              <a:sym typeface="+mn-lt"/>
            </a:endParaRPr>
          </a:p>
        </p:txBody>
      </p:sp>
      <p:sp>
        <p:nvSpPr>
          <p:cNvPr id="454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540625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C98166D-61F5-4F62-B841-82CEC295AD31}" type="datetime'''''''''''''1''''''''''''''0''''''''''''''''''''.'''''''''''''">
              <a:rPr lang="en-US" altLang="en-US" sz="1000">
                <a:sym typeface="+mn-lt"/>
              </a:rPr>
              <a:pPr/>
              <a:t>10.</a:t>
            </a:fld>
            <a:endParaRPr lang="en-US" sz="1000" dirty="0">
              <a:sym typeface="+mn-lt"/>
            </a:endParaRPr>
          </a:p>
        </p:txBody>
      </p:sp>
      <p:sp>
        <p:nvSpPr>
          <p:cNvPr id="456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948613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BEF3724-6CE2-4FCD-9768-80B907228E6E}" type="datetime'''''''1''''''''7''''''''''''''''''.'''''''''''''''''''''''''''">
              <a:rPr lang="en-US" altLang="en-US" sz="1000">
                <a:sym typeface="+mn-lt"/>
              </a:rPr>
              <a:pPr/>
              <a:t>17.</a:t>
            </a:fld>
            <a:endParaRPr lang="en-US" sz="1000" dirty="0">
              <a:sym typeface="+mn-lt"/>
            </a:endParaRPr>
          </a:p>
        </p:txBody>
      </p:sp>
      <p:sp>
        <p:nvSpPr>
          <p:cNvPr id="458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356600" y="2049463"/>
            <a:ext cx="406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643B1AF-22BA-4D66-A93A-B80A0CD79379}" type="datetime'2''''''''''''''''''''''''''''''''4''.'''''''''''''''''''">
              <a:rPr lang="en-US" altLang="en-US" sz="1000">
                <a:sym typeface="+mn-lt"/>
              </a:rPr>
              <a:pPr/>
              <a:t>24.</a:t>
            </a:fld>
            <a:endParaRPr lang="en-US" sz="1000" dirty="0">
              <a:sym typeface="+mn-lt"/>
            </a:endParaRPr>
          </a:p>
        </p:txBody>
      </p:sp>
      <p:sp>
        <p:nvSpPr>
          <p:cNvPr id="460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763000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2933BCC-88CA-4B82-87B8-B58685DD5AE9}" type="datetime'''''''''''''''''''01''''''''''''''''''''''''''''''.'''''''">
              <a:rPr lang="en-US" altLang="en-US" sz="1000">
                <a:sym typeface="+mn-lt"/>
              </a:rPr>
              <a:pPr/>
              <a:t>01.</a:t>
            </a:fld>
            <a:endParaRPr lang="en-US" sz="1000" dirty="0">
              <a:sym typeface="+mn-lt"/>
            </a:endParaRPr>
          </a:p>
        </p:txBody>
      </p:sp>
      <p:sp>
        <p:nvSpPr>
          <p:cNvPr id="462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170988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43C9F7C-EAFA-4B11-BD67-8BDDEDDB0ECD}" type="datetime'''''''''0''''''''''''''''''8.'''''''">
              <a:rPr lang="en-US" altLang="en-US" sz="1000">
                <a:sym typeface="+mn-lt"/>
              </a:rPr>
              <a:pPr/>
              <a:t>08.</a:t>
            </a:fld>
            <a:endParaRPr lang="en-US" sz="1000" dirty="0">
              <a:sym typeface="+mn-lt"/>
            </a:endParaRPr>
          </a:p>
        </p:txBody>
      </p:sp>
      <p:sp>
        <p:nvSpPr>
          <p:cNvPr id="464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578975" y="2049463"/>
            <a:ext cx="406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269BC24-4E7F-4E3C-9401-8A3106A73B6E}" type="datetime'''1''''''''''''''''5''''''''''.'''''''''''''''">
              <a:rPr lang="en-US" altLang="en-US" sz="1000">
                <a:sym typeface="+mn-lt"/>
              </a:rPr>
              <a:pPr/>
              <a:t>15.</a:t>
            </a:fld>
            <a:endParaRPr lang="en-US" sz="1000" dirty="0">
              <a:sym typeface="+mn-lt"/>
            </a:endParaRPr>
          </a:p>
        </p:txBody>
      </p:sp>
      <p:sp>
        <p:nvSpPr>
          <p:cNvPr id="466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985375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46EAC9E-DDB5-4FCF-A70F-4F4161D03E7B}" type="datetime'''''''''''''''''2''''''''''2''''''''''''''''''''''''''.'''''">
              <a:rPr lang="en-US" altLang="en-US" sz="1000">
                <a:sym typeface="+mn-lt"/>
              </a:rPr>
              <a:pPr/>
              <a:t>22.</a:t>
            </a:fld>
            <a:endParaRPr lang="en-US" sz="1000" dirty="0">
              <a:sym typeface="+mn-lt"/>
            </a:endParaRPr>
          </a:p>
        </p:txBody>
      </p:sp>
      <p:sp>
        <p:nvSpPr>
          <p:cNvPr id="468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393363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FDE9529-A079-478F-AB2F-E918DF104054}" type="datetime'''''''29''''''''''''''.'''''''''''''''''''''''''''''''''''">
              <a:rPr lang="en-US" altLang="en-US" sz="1000">
                <a:sym typeface="+mn-lt"/>
              </a:rPr>
              <a:pPr/>
              <a:t>29.</a:t>
            </a:fld>
            <a:endParaRPr lang="en-US" sz="1000" dirty="0">
              <a:sym typeface="+mn-lt"/>
            </a:endParaRPr>
          </a:p>
        </p:txBody>
      </p:sp>
      <p:sp>
        <p:nvSpPr>
          <p:cNvPr id="470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801350" y="2049463"/>
            <a:ext cx="406400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A810DF2-2FB1-4EE6-A4BD-CEFF4E68CCEA}" type="datetime'''''0''''''''''''5''''''''''.'''''''''''''''''''''">
              <a:rPr lang="en-US" altLang="en-US" sz="1000">
                <a:sym typeface="+mn-lt"/>
              </a:rPr>
              <a:pPr/>
              <a:t>05.</a:t>
            </a:fld>
            <a:endParaRPr lang="en-US" sz="1000" dirty="0">
              <a:sym typeface="+mn-lt"/>
            </a:endParaRPr>
          </a:p>
        </p:txBody>
      </p:sp>
      <p:sp>
        <p:nvSpPr>
          <p:cNvPr id="109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207750" y="2049463"/>
            <a:ext cx="407988" cy="23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41275" rIns="0" bIns="41275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E778BBE-C15F-40C3-9D9D-661382B5E1AF}" type="datetime'''''''''1''''''''''''''''''''''2''.'''">
              <a:rPr lang="en-US" altLang="en-US" sz="1000">
                <a:sym typeface="+mn-lt"/>
              </a:rPr>
              <a:pPr/>
              <a:t>12.</a:t>
            </a:fld>
            <a:endParaRPr lang="en-US" sz="1000" dirty="0">
              <a:sym typeface="+mn-lt"/>
            </a:endParaRPr>
          </a:p>
        </p:txBody>
      </p:sp>
      <p:cxnSp>
        <p:nvCxnSpPr>
          <p:cNvPr id="478" name="Straight Connector 477"/>
          <p:cNvCxnSpPr/>
          <p:nvPr>
            <p:custDataLst>
              <p:tags r:id="rId28"/>
            </p:custDataLst>
          </p:nvPr>
        </p:nvCxnSpPr>
        <p:spPr bwMode="gray">
          <a:xfrm>
            <a:off x="7016750" y="2049463"/>
            <a:ext cx="1746250" cy="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Straight Connector 503"/>
          <p:cNvCxnSpPr/>
          <p:nvPr>
            <p:custDataLst>
              <p:tags r:id="rId29"/>
            </p:custDataLst>
          </p:nvPr>
        </p:nvCxnSpPr>
        <p:spPr bwMode="gray">
          <a:xfrm>
            <a:off x="4281488" y="2049463"/>
            <a:ext cx="931863" cy="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Straight Connector 505"/>
          <p:cNvCxnSpPr/>
          <p:nvPr>
            <p:custDataLst>
              <p:tags r:id="rId30"/>
            </p:custDataLst>
          </p:nvPr>
        </p:nvCxnSpPr>
        <p:spPr bwMode="gray">
          <a:xfrm>
            <a:off x="5213350" y="2049463"/>
            <a:ext cx="1803400" cy="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Straight Connector 479"/>
          <p:cNvCxnSpPr/>
          <p:nvPr>
            <p:custDataLst>
              <p:tags r:id="rId31"/>
            </p:custDataLst>
          </p:nvPr>
        </p:nvCxnSpPr>
        <p:spPr bwMode="gray">
          <a:xfrm>
            <a:off x="10567988" y="2049463"/>
            <a:ext cx="1047750" cy="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Connector 478"/>
          <p:cNvCxnSpPr/>
          <p:nvPr>
            <p:custDataLst>
              <p:tags r:id="rId32"/>
            </p:custDataLst>
          </p:nvPr>
        </p:nvCxnSpPr>
        <p:spPr bwMode="gray">
          <a:xfrm>
            <a:off x="8763000" y="2049463"/>
            <a:ext cx="1804988" cy="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/>
          <p:cNvCxnSpPr/>
          <p:nvPr>
            <p:custDataLst>
              <p:tags r:id="rId33"/>
            </p:custDataLst>
          </p:nvPr>
        </p:nvCxnSpPr>
        <p:spPr bwMode="gray">
          <a:xfrm>
            <a:off x="7016750" y="2284413"/>
            <a:ext cx="0" cy="356870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Straight Connector 506"/>
          <p:cNvCxnSpPr/>
          <p:nvPr>
            <p:custDataLst>
              <p:tags r:id="rId34"/>
            </p:custDataLst>
          </p:nvPr>
        </p:nvCxnSpPr>
        <p:spPr bwMode="gray">
          <a:xfrm>
            <a:off x="10567988" y="2284413"/>
            <a:ext cx="0" cy="356870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35"/>
            </p:custDataLst>
          </p:nvPr>
        </p:nvCxnSpPr>
        <p:spPr bwMode="gray">
          <a:xfrm>
            <a:off x="4281488" y="2284413"/>
            <a:ext cx="0" cy="356870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36"/>
            </p:custDataLst>
          </p:nvPr>
        </p:nvCxnSpPr>
        <p:spPr bwMode="gray">
          <a:xfrm>
            <a:off x="5213350" y="2284413"/>
            <a:ext cx="0" cy="356870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2" name="Straight Connector 491"/>
          <p:cNvCxnSpPr/>
          <p:nvPr>
            <p:custDataLst>
              <p:tags r:id="rId37"/>
            </p:custDataLst>
          </p:nvPr>
        </p:nvCxnSpPr>
        <p:spPr bwMode="gray">
          <a:xfrm>
            <a:off x="8763000" y="2284413"/>
            <a:ext cx="0" cy="3568700"/>
          </a:xfrm>
          <a:prstGeom prst="line">
            <a:avLst/>
          </a:prstGeom>
          <a:ln w="9525">
            <a:solidFill>
              <a:srgbClr val="808080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7" name="Left Arrow 486"/>
          <p:cNvSpPr/>
          <p:nvPr>
            <p:custDataLst>
              <p:tags r:id="rId38"/>
            </p:custDataLst>
          </p:nvPr>
        </p:nvSpPr>
        <p:spPr bwMode="gray">
          <a:xfrm>
            <a:off x="4151313" y="4332288"/>
            <a:ext cx="1876425" cy="231775"/>
          </a:xfrm>
          <a:prstGeom prst="leftArrow">
            <a:avLst>
              <a:gd name="adj1" fmla="val 50000"/>
              <a:gd name="adj2" fmla="val 40657"/>
            </a:avLst>
          </a:prstGeom>
          <a:solidFill>
            <a:srgbClr val="E2E2E2"/>
          </a:solidFill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>
            <p:custDataLst>
              <p:tags r:id="rId39"/>
            </p:custDataLst>
          </p:nvPr>
        </p:nvSpPr>
        <p:spPr bwMode="gray">
          <a:xfrm>
            <a:off x="6027738" y="4391025"/>
            <a:ext cx="2678113" cy="11588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5" name="Rectangle 484"/>
          <p:cNvSpPr/>
          <p:nvPr>
            <p:custDataLst>
              <p:tags r:id="rId40"/>
            </p:custDataLst>
          </p:nvPr>
        </p:nvSpPr>
        <p:spPr bwMode="gray">
          <a:xfrm>
            <a:off x="5213350" y="3622675"/>
            <a:ext cx="1746250" cy="11588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8" name="Rectangle 487"/>
          <p:cNvSpPr/>
          <p:nvPr>
            <p:custDataLst>
              <p:tags r:id="rId41"/>
            </p:custDataLst>
          </p:nvPr>
        </p:nvSpPr>
        <p:spPr bwMode="gray">
          <a:xfrm>
            <a:off x="8356600" y="4773613"/>
            <a:ext cx="755650" cy="11588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" name="Left Arrow 14"/>
          <p:cNvSpPr/>
          <p:nvPr>
            <p:custDataLst>
              <p:tags r:id="rId42"/>
            </p:custDataLst>
          </p:nvPr>
        </p:nvSpPr>
        <p:spPr bwMode="gray">
          <a:xfrm>
            <a:off x="4151313" y="2797175"/>
            <a:ext cx="1585913" cy="231775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04" name="Left Arrow 303"/>
          <p:cNvSpPr/>
          <p:nvPr>
            <p:custDataLst>
              <p:tags r:id="rId43"/>
            </p:custDataLst>
          </p:nvPr>
        </p:nvSpPr>
        <p:spPr bwMode="gray">
          <a:xfrm>
            <a:off x="4151312" y="2413000"/>
            <a:ext cx="1062038" cy="231775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6" name="Rectangle 485"/>
          <p:cNvSpPr/>
          <p:nvPr>
            <p:custDataLst>
              <p:tags r:id="rId44"/>
            </p:custDataLst>
          </p:nvPr>
        </p:nvSpPr>
        <p:spPr bwMode="gray">
          <a:xfrm>
            <a:off x="6959600" y="4006850"/>
            <a:ext cx="1163638" cy="11588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>
            <p:custDataLst>
              <p:tags r:id="rId45"/>
            </p:custDataLst>
          </p:nvPr>
        </p:nvSpPr>
        <p:spPr bwMode="gray">
          <a:xfrm>
            <a:off x="8763000" y="5157788"/>
            <a:ext cx="1106488" cy="11588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4" name="Rectangle 483"/>
          <p:cNvSpPr/>
          <p:nvPr>
            <p:custDataLst>
              <p:tags r:id="rId46"/>
            </p:custDataLst>
          </p:nvPr>
        </p:nvSpPr>
        <p:spPr bwMode="gray">
          <a:xfrm>
            <a:off x="9869488" y="5541963"/>
            <a:ext cx="1512888" cy="11588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19" name="Rectangle 518"/>
          <p:cNvSpPr/>
          <p:nvPr>
            <p:custDataLst>
              <p:tags r:id="rId47"/>
            </p:custDataLst>
          </p:nvPr>
        </p:nvSpPr>
        <p:spPr bwMode="gray">
          <a:xfrm>
            <a:off x="5737225" y="3240088"/>
            <a:ext cx="2095500" cy="11588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253" name="Straight Connector 252"/>
          <p:cNvCxnSpPr/>
          <p:nvPr>
            <p:custDataLst>
              <p:tags r:id="rId48"/>
            </p:custDataLst>
          </p:nvPr>
        </p:nvCxnSpPr>
        <p:spPr bwMode="white">
          <a:xfrm>
            <a:off x="9170988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Straight Connector 492"/>
          <p:cNvCxnSpPr/>
          <p:nvPr>
            <p:custDataLst>
              <p:tags r:id="rId49"/>
            </p:custDataLst>
          </p:nvPr>
        </p:nvCxnSpPr>
        <p:spPr bwMode="white">
          <a:xfrm>
            <a:off x="9985375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9" name="Straight Connector 508"/>
          <p:cNvCxnSpPr/>
          <p:nvPr>
            <p:custDataLst>
              <p:tags r:id="rId50"/>
            </p:custDataLst>
          </p:nvPr>
        </p:nvCxnSpPr>
        <p:spPr bwMode="white">
          <a:xfrm>
            <a:off x="10393363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0" name="Straight Connector 509"/>
          <p:cNvCxnSpPr/>
          <p:nvPr>
            <p:custDataLst>
              <p:tags r:id="rId51"/>
            </p:custDataLst>
          </p:nvPr>
        </p:nvCxnSpPr>
        <p:spPr bwMode="white">
          <a:xfrm>
            <a:off x="10801350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/>
          <p:cNvCxnSpPr/>
          <p:nvPr>
            <p:custDataLst>
              <p:tags r:id="rId52"/>
            </p:custDataLst>
          </p:nvPr>
        </p:nvCxnSpPr>
        <p:spPr bwMode="white">
          <a:xfrm>
            <a:off x="9578975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53"/>
            </p:custDataLst>
          </p:nvPr>
        </p:nvCxnSpPr>
        <p:spPr bwMode="white">
          <a:xfrm>
            <a:off x="11207750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54"/>
            </p:custDataLst>
          </p:nvPr>
        </p:nvCxnSpPr>
        <p:spPr bwMode="white">
          <a:xfrm>
            <a:off x="5503863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>
            <p:custDataLst>
              <p:tags r:id="rId55"/>
            </p:custDataLst>
          </p:nvPr>
        </p:nvCxnSpPr>
        <p:spPr bwMode="white">
          <a:xfrm>
            <a:off x="7948613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>
            <p:custDataLst>
              <p:tags r:id="rId56"/>
            </p:custDataLst>
          </p:nvPr>
        </p:nvCxnSpPr>
        <p:spPr bwMode="white">
          <a:xfrm>
            <a:off x="6318250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57"/>
            </p:custDataLst>
          </p:nvPr>
        </p:nvCxnSpPr>
        <p:spPr bwMode="white">
          <a:xfrm>
            <a:off x="6726238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58"/>
            </p:custDataLst>
          </p:nvPr>
        </p:nvCxnSpPr>
        <p:spPr bwMode="white">
          <a:xfrm>
            <a:off x="4689475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>
            <p:custDataLst>
              <p:tags r:id="rId59"/>
            </p:custDataLst>
          </p:nvPr>
        </p:nvCxnSpPr>
        <p:spPr bwMode="white">
          <a:xfrm>
            <a:off x="7134225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60"/>
            </p:custDataLst>
          </p:nvPr>
        </p:nvCxnSpPr>
        <p:spPr bwMode="white">
          <a:xfrm>
            <a:off x="5095875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>
            <p:custDataLst>
              <p:tags r:id="rId61"/>
            </p:custDataLst>
          </p:nvPr>
        </p:nvCxnSpPr>
        <p:spPr bwMode="white">
          <a:xfrm>
            <a:off x="7540625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/>
          <p:nvPr>
            <p:custDataLst>
              <p:tags r:id="rId62"/>
            </p:custDataLst>
          </p:nvPr>
        </p:nvCxnSpPr>
        <p:spPr bwMode="white">
          <a:xfrm>
            <a:off x="8356600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63"/>
            </p:custDataLst>
          </p:nvPr>
        </p:nvCxnSpPr>
        <p:spPr bwMode="white">
          <a:xfrm>
            <a:off x="5911850" y="2284413"/>
            <a:ext cx="0" cy="3568700"/>
          </a:xfrm>
          <a:prstGeom prst="line">
            <a:avLst/>
          </a:prstGeom>
          <a:ln w="9525">
            <a:solidFill>
              <a:schemeClr val="bg1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>
            <p:custDataLst>
              <p:tags r:id="rId64"/>
            </p:custDataLst>
          </p:nvPr>
        </p:nvCxnSpPr>
        <p:spPr bwMode="gray">
          <a:xfrm>
            <a:off x="1566864" y="2284413"/>
            <a:ext cx="10048875" cy="0"/>
          </a:xfrm>
          <a:prstGeom prst="line">
            <a:avLst/>
          </a:prstGeom>
          <a:ln w="19050">
            <a:solidFill>
              <a:schemeClr val="tx2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iamond 32"/>
          <p:cNvSpPr/>
          <p:nvPr>
            <p:custDataLst>
              <p:tags r:id="rId65"/>
            </p:custDataLst>
          </p:nvPr>
        </p:nvSpPr>
        <p:spPr bwMode="gray">
          <a:xfrm>
            <a:off x="5664200" y="2840038"/>
            <a:ext cx="146050" cy="146050"/>
          </a:xfrm>
          <a:prstGeom prst="diamond">
            <a:avLst/>
          </a:prstGeom>
          <a:solidFill>
            <a:srgbClr val="ED7D31"/>
          </a:solidFill>
          <a:ln w="9525" cap="rnd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4" name="Diamond 33"/>
          <p:cNvSpPr/>
          <p:nvPr>
            <p:custDataLst>
              <p:tags r:id="rId66"/>
            </p:custDataLst>
          </p:nvPr>
        </p:nvSpPr>
        <p:spPr bwMode="gray">
          <a:xfrm>
            <a:off x="7759700" y="3224213"/>
            <a:ext cx="146050" cy="146050"/>
          </a:xfrm>
          <a:prstGeom prst="diamond">
            <a:avLst/>
          </a:prstGeom>
          <a:solidFill>
            <a:srgbClr val="ED7D31"/>
          </a:solidFill>
          <a:ln w="9525" cap="rnd" cmpd="sng" algn="ctr">
            <a:solidFill>
              <a:srgbClr val="ED7D3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8" name="Text Placeholder 3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566863" y="4376738"/>
            <a:ext cx="1420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BE2D170-EF13-4AF3-A93C-850D0C37F040}" type="datetime'''''D''''r''''a''''f''''t ''''''categor''y ''''''stra''tegies'">
              <a:rPr lang="en-US" altLang="en-US" sz="1000"/>
              <a:pPr/>
              <a:t>Draft category strategies</a:t>
            </a:fld>
            <a:endParaRPr lang="en-US" sz="1000" dirty="0">
              <a:sym typeface="+mn-lt"/>
            </a:endParaRPr>
          </a:p>
        </p:txBody>
      </p:sp>
      <p:sp>
        <p:nvSpPr>
          <p:cNvPr id="67" name="Text Placeholder 3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566863" y="3992563"/>
            <a:ext cx="2171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08FCA30-41B1-4423-B3B1-EDF6BD66DDC1}" type="datetime'D''e''fi''ne'' goods ''''an''''d services b''y ca''t''egory'''">
              <a:rPr lang="en-US" altLang="en-US" sz="1000"/>
              <a:pPr/>
              <a:t>Define goods and services by category</a:t>
            </a:fld>
            <a:endParaRPr lang="en-US" sz="1000" dirty="0">
              <a:sym typeface="+mn-lt"/>
            </a:endParaRPr>
          </a:p>
        </p:txBody>
      </p:sp>
      <p:sp>
        <p:nvSpPr>
          <p:cNvPr id="66" name="Text Placeholder 3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1566863" y="3608388"/>
            <a:ext cx="1714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FEB0C35-3FF8-4FEC-B377-AC2D060457A2}" type="datetime'Analyz''''''''e'' d''ema''''n''''d'' o''f ''''''categorie''s'">
              <a:rPr lang="en-US" altLang="en-US" sz="1000"/>
              <a:pPr/>
              <a:t>Analyze demand of categories</a:t>
            </a:fld>
            <a:endParaRPr lang="en-US" sz="1000" dirty="0">
              <a:sym typeface="+mn-lt"/>
            </a:endParaRPr>
          </a:p>
        </p:txBody>
      </p:sp>
      <p:sp>
        <p:nvSpPr>
          <p:cNvPr id="70" name="Text Placeholder 3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566863" y="4759325"/>
            <a:ext cx="14970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1A3C159-0748-4354-8B97-1C1D67EA5682}" type="datetime'Re''fi''n''e'''''' categ''''or''y'''''''' str''''at''egie''s'">
              <a:rPr lang="en-US" altLang="en-US" sz="1000"/>
              <a:pPr/>
              <a:t>Refine category strategies</a:t>
            </a:fld>
            <a:endParaRPr lang="en-US" sz="1000" dirty="0">
              <a:sym typeface="+mn-lt"/>
            </a:endParaRPr>
          </a:p>
        </p:txBody>
      </p:sp>
      <p:sp>
        <p:nvSpPr>
          <p:cNvPr id="71" name="Text Placeholder 3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566863" y="2060575"/>
            <a:ext cx="5540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2B12D3A-065B-40E7-BA7F-306B9B4FF185}" type="datetime'''''''A''''''c''''t''i''''''v''''i''t''''''''''''''''y'''''''">
              <a:rPr lang="en-US" altLang="en-US" b="1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Activity</a:t>
            </a:fld>
            <a:endParaRPr lang="en-US" b="1" dirty="0">
              <a:sym typeface="+mn-lt"/>
            </a:endParaRPr>
          </a:p>
        </p:txBody>
      </p:sp>
      <p:sp>
        <p:nvSpPr>
          <p:cNvPr id="63" name="Text Placeholder 3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566863" y="2457450"/>
            <a:ext cx="2333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2A365F5-8FFC-4963-8E8D-618469A33F23}" type="datetime'''''Develop de''''pa''rtments’ p''l''an''s and ''bud''g''ets'">
              <a:rPr lang="en-US" altLang="en-US" sz="1000" smtClean="0"/>
              <a:pPr/>
              <a:t>Develop departments’ plans and budgets</a:t>
            </a:fld>
            <a:endParaRPr lang="en-US" sz="1000" dirty="0">
              <a:sym typeface="+mn-lt"/>
            </a:endParaRPr>
          </a:p>
        </p:txBody>
      </p:sp>
      <p:sp>
        <p:nvSpPr>
          <p:cNvPr id="518" name="Text Placeholder 3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1566863" y="3225800"/>
            <a:ext cx="1928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408B89F-4BFB-4B5B-A7C5-877C4877FD32}" type="datetime'''R''ef''i''''ne co''r''pora''te ''p''''lan an''d ''''budget'">
              <a:rPr lang="en-US" altLang="en-US" sz="1000"/>
              <a:pPr/>
              <a:t>Refine corporate plan and budget</a:t>
            </a:fld>
            <a:endParaRPr lang="en-US" sz="1000" dirty="0">
              <a:sym typeface="+mn-lt"/>
            </a:endParaRPr>
          </a:p>
        </p:txBody>
      </p:sp>
      <p:sp>
        <p:nvSpPr>
          <p:cNvPr id="98" name="Text Placeholder 3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1566863" y="2841625"/>
            <a:ext cx="2227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F427823-F7FA-4235-B6C2-D07F94943D97}" type="datetime'Cons''oli''da''te c''o''''''rpo''rate plan a''nd b''ud''get'''">
              <a:rPr lang="en-US" altLang="en-US" sz="1000"/>
              <a:pPr/>
              <a:t>Consolidate corporate plan and budget</a:t>
            </a:fld>
            <a:endParaRPr lang="en-US" sz="1000" dirty="0">
              <a:sym typeface="+mn-lt"/>
            </a:endParaRPr>
          </a:p>
        </p:txBody>
      </p:sp>
      <p:sp>
        <p:nvSpPr>
          <p:cNvPr id="118" name="Text Placeholder 3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1566863" y="5527675"/>
            <a:ext cx="1520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143C0F6-1CB1-4EE3-AE4B-E1721AC22407}" type="datetime'D''''''''e''f''''ine'''' me''t''ri''cs a''nd t''ar''''gets'">
              <a:rPr lang="en-US" altLang="en-US" sz="1000"/>
              <a:pPr/>
              <a:t>Define metrics and targets</a:t>
            </a:fld>
            <a:endParaRPr lang="en-US" sz="1000" dirty="0">
              <a:sym typeface="+mn-lt"/>
            </a:endParaRPr>
          </a:p>
        </p:txBody>
      </p:sp>
      <p:sp>
        <p:nvSpPr>
          <p:cNvPr id="255" name="Text Placeholder 3"/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1566863" y="5143500"/>
            <a:ext cx="2489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649224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7F7F7F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320040" indent="-219456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452D6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CC38C27-ADE8-4227-8A5B-D2B23658BC6B}" type="datetime'Validate ''''''''c''ategory group ''stra''tegies with V''Ps'">
              <a:rPr lang="en-US" altLang="en-US" sz="1000"/>
              <a:pPr/>
              <a:t>Validate category group strategies with VPs</a:t>
            </a:fld>
            <a:endParaRPr lang="en-US" sz="1000" dirty="0">
              <a:sym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0001" y="2049463"/>
            <a:ext cx="697150" cy="234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/>
              <a:t>Proces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1" y="2433638"/>
            <a:ext cx="697150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tx2"/>
                </a:solidFill>
              </a:rPr>
              <a:t>Corporate</a:t>
            </a:r>
            <a:br>
              <a:rPr lang="en-US" sz="1000" dirty="0">
                <a:solidFill>
                  <a:schemeClr val="tx2"/>
                </a:solidFill>
              </a:rPr>
            </a:br>
            <a:r>
              <a:rPr lang="en-US" sz="1000" dirty="0">
                <a:solidFill>
                  <a:schemeClr val="tx2"/>
                </a:solidFill>
              </a:rPr>
              <a:t>planning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630001" y="3608388"/>
            <a:ext cx="697150" cy="461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tx2"/>
                </a:solidFill>
              </a:rPr>
              <a:t>Sourcing</a:t>
            </a:r>
            <a:br>
              <a:rPr lang="en-US" sz="1000" dirty="0">
                <a:solidFill>
                  <a:schemeClr val="tx2"/>
                </a:solidFill>
              </a:rPr>
            </a:br>
            <a:r>
              <a:rPr lang="en-US" sz="1000" dirty="0">
                <a:solidFill>
                  <a:schemeClr val="tx2"/>
                </a:solidFill>
              </a:rPr>
              <a:t>strategic</a:t>
            </a:r>
            <a:br>
              <a:rPr lang="en-US" sz="1000" dirty="0">
                <a:solidFill>
                  <a:schemeClr val="tx2"/>
                </a:solidFill>
              </a:rPr>
            </a:br>
            <a:r>
              <a:rPr lang="en-US" sz="1000" dirty="0">
                <a:solidFill>
                  <a:schemeClr val="tx2"/>
                </a:solidFill>
              </a:rPr>
              <a:t>planning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886586" y="245114"/>
            <a:ext cx="1847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000" dirty="0"/>
          </a:p>
        </p:txBody>
      </p:sp>
      <p:sp>
        <p:nvSpPr>
          <p:cNvPr id="48" name="TextBox 47"/>
          <p:cNvSpPr txBox="1"/>
          <p:nvPr/>
        </p:nvSpPr>
        <p:spPr>
          <a:xfrm>
            <a:off x="8795021" y="5291138"/>
            <a:ext cx="1029128" cy="124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dirty="0"/>
              <a:t>Validation meetings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7931508" y="3238500"/>
            <a:ext cx="787075" cy="124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dirty="0"/>
              <a:t>Board Approval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5839603" y="2855913"/>
            <a:ext cx="860813" cy="124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900" dirty="0"/>
              <a:t>CEO/CFO review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29999" y="2284413"/>
            <a:ext cx="1005840" cy="0"/>
          </a:xfrm>
          <a:prstGeom prst="line">
            <a:avLst/>
          </a:prstGeom>
          <a:ln w="19050">
            <a:solidFill>
              <a:schemeClr val="tx2"/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304" idx="3"/>
            <a:endCxn id="485" idx="1"/>
          </p:cNvCxnSpPr>
          <p:nvPr/>
        </p:nvCxnSpPr>
        <p:spPr>
          <a:xfrm>
            <a:off x="5213350" y="2528888"/>
            <a:ext cx="0" cy="1151731"/>
          </a:xfrm>
          <a:prstGeom prst="straightConnector1">
            <a:avLst/>
          </a:prstGeom>
          <a:ln w="9525" cap="flat" cmpd="sng" algn="ctr">
            <a:solidFill>
              <a:srgbClr val="7F7F7F"/>
            </a:solidFill>
            <a:prstDash val="sysDot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 bwMode="gray">
          <a:xfrm>
            <a:off x="630001" y="3492500"/>
            <a:ext cx="10996849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olid"/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>
            <a:off x="5133708" y="3760788"/>
            <a:ext cx="0" cy="271153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36" name="Straight Connector 135"/>
          <p:cNvCxnSpPr/>
          <p:nvPr/>
        </p:nvCxnSpPr>
        <p:spPr>
          <a:xfrm>
            <a:off x="5771282" y="4525963"/>
            <a:ext cx="0" cy="386845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37" name="Rectangle 136"/>
          <p:cNvSpPr/>
          <p:nvPr/>
        </p:nvSpPr>
        <p:spPr>
          <a:xfrm>
            <a:off x="4832045" y="4679950"/>
            <a:ext cx="1878474" cy="77695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75757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nalysis to define strategy can be performed in advance to approval of the Corporate Plan (</a:t>
            </a:r>
            <a:r>
              <a:rPr lang="en-US" sz="1000" dirty="0" err="1">
                <a:solidFill>
                  <a:srgbClr val="575757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ie</a:t>
            </a:r>
            <a:r>
              <a:rPr lang="en-US" sz="1000" dirty="0">
                <a:solidFill>
                  <a:srgbClr val="575757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. Context and competitive environment)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4500861" y="3944938"/>
            <a:ext cx="2106167" cy="328751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575757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nalysis of demand starts based on departments’ plan and budget</a:t>
            </a:r>
          </a:p>
        </p:txBody>
      </p:sp>
      <p:sp>
        <p:nvSpPr>
          <p:cNvPr id="99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ource: 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CM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Frontera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; team analysis</a:t>
            </a:r>
          </a:p>
        </p:txBody>
      </p:sp>
      <p:sp>
        <p:nvSpPr>
          <p:cNvPr id="9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3" name="NavigationIcon"/>
          <p:cNvSpPr>
            <a:spLocks noChangeAspect="1"/>
          </p:cNvSpPr>
          <p:nvPr/>
        </p:nvSpPr>
        <p:spPr bwMode="auto">
          <a:xfrm>
            <a:off x="11762998" y="132877"/>
            <a:ext cx="220851" cy="365760"/>
          </a:xfrm>
          <a:custGeom>
            <a:avLst/>
            <a:gdLst>
              <a:gd name="connsiteX0" fmla="*/ 146047 w 754383"/>
              <a:gd name="connsiteY0" fmla="*/ 1054099 h 1249362"/>
              <a:gd name="connsiteX1" fmla="*/ 595723 w 754383"/>
              <a:gd name="connsiteY1" fmla="*/ 1054099 h 1249362"/>
              <a:gd name="connsiteX2" fmla="*/ 600006 w 754383"/>
              <a:gd name="connsiteY2" fmla="*/ 1057675 h 1249362"/>
              <a:gd name="connsiteX3" fmla="*/ 738478 w 754383"/>
              <a:gd name="connsiteY3" fmla="*/ 1225044 h 1249362"/>
              <a:gd name="connsiteX4" fmla="*/ 727057 w 754383"/>
              <a:gd name="connsiteY4" fmla="*/ 1249362 h 1249362"/>
              <a:gd name="connsiteX5" fmla="*/ 14713 w 754383"/>
              <a:gd name="connsiteY5" fmla="*/ 1249362 h 1249362"/>
              <a:gd name="connsiteX6" fmla="*/ 3292 w 754383"/>
              <a:gd name="connsiteY6" fmla="*/ 1225044 h 1249362"/>
              <a:gd name="connsiteX7" fmla="*/ 141764 w 754383"/>
              <a:gd name="connsiteY7" fmla="*/ 1057675 h 1249362"/>
              <a:gd name="connsiteX8" fmla="*/ 146047 w 754383"/>
              <a:gd name="connsiteY8" fmla="*/ 1054099 h 1249362"/>
              <a:gd name="connsiteX9" fmla="*/ 93070 w 754383"/>
              <a:gd name="connsiteY9" fmla="*/ 898524 h 1249362"/>
              <a:gd name="connsiteX10" fmla="*/ 648699 w 754383"/>
              <a:gd name="connsiteY10" fmla="*/ 898524 h 1249362"/>
              <a:gd name="connsiteX11" fmla="*/ 655841 w 754383"/>
              <a:gd name="connsiteY11" fmla="*/ 905682 h 1249362"/>
              <a:gd name="connsiteX12" fmla="*/ 655841 w 754383"/>
              <a:gd name="connsiteY12" fmla="*/ 1015192 h 1249362"/>
              <a:gd name="connsiteX13" fmla="*/ 648699 w 754383"/>
              <a:gd name="connsiteY13" fmla="*/ 1022349 h 1249362"/>
              <a:gd name="connsiteX14" fmla="*/ 93070 w 754383"/>
              <a:gd name="connsiteY14" fmla="*/ 1022349 h 1249362"/>
              <a:gd name="connsiteX15" fmla="*/ 85928 w 754383"/>
              <a:gd name="connsiteY15" fmla="*/ 1015192 h 1249362"/>
              <a:gd name="connsiteX16" fmla="*/ 85928 w 754383"/>
              <a:gd name="connsiteY16" fmla="*/ 905682 h 1249362"/>
              <a:gd name="connsiteX17" fmla="*/ 93070 w 754383"/>
              <a:gd name="connsiteY17" fmla="*/ 898524 h 1249362"/>
              <a:gd name="connsiteX18" fmla="*/ 384014 w 754383"/>
              <a:gd name="connsiteY18" fmla="*/ 0 h 1249362"/>
              <a:gd name="connsiteX19" fmla="*/ 396150 w 754383"/>
              <a:gd name="connsiteY19" fmla="*/ 4277 h 1249362"/>
              <a:gd name="connsiteX20" fmla="*/ 406858 w 754383"/>
              <a:gd name="connsiteY20" fmla="*/ 54174 h 1249362"/>
              <a:gd name="connsiteX21" fmla="*/ 401861 w 754383"/>
              <a:gd name="connsiteY21" fmla="*/ 81260 h 1249362"/>
              <a:gd name="connsiteX22" fmla="*/ 400434 w 754383"/>
              <a:gd name="connsiteY22" fmla="*/ 87676 h 1249362"/>
              <a:gd name="connsiteX23" fmla="*/ 432558 w 754383"/>
              <a:gd name="connsiteY23" fmla="*/ 99793 h 1249362"/>
              <a:gd name="connsiteX24" fmla="*/ 553205 w 754383"/>
              <a:gd name="connsiteY24" fmla="*/ 157531 h 1249362"/>
              <a:gd name="connsiteX25" fmla="*/ 580333 w 754383"/>
              <a:gd name="connsiteY25" fmla="*/ 200299 h 1249362"/>
              <a:gd name="connsiteX26" fmla="*/ 587472 w 754383"/>
              <a:gd name="connsiteY26" fmla="*/ 212417 h 1249362"/>
              <a:gd name="connsiteX27" fmla="*/ 613885 w 754383"/>
              <a:gd name="connsiteY27" fmla="*/ 230950 h 1249362"/>
              <a:gd name="connsiteX28" fmla="*/ 740957 w 754383"/>
              <a:gd name="connsiteY28" fmla="*/ 335733 h 1249362"/>
              <a:gd name="connsiteX29" fmla="*/ 703835 w 754383"/>
              <a:gd name="connsiteY29" fmla="*/ 501817 h 1249362"/>
              <a:gd name="connsiteX30" fmla="*/ 566055 w 754383"/>
              <a:gd name="connsiteY30" fmla="*/ 456910 h 1249362"/>
              <a:gd name="connsiteX31" fmla="*/ 536072 w 754383"/>
              <a:gd name="connsiteY31" fmla="*/ 436239 h 1249362"/>
              <a:gd name="connsiteX32" fmla="*/ 499664 w 754383"/>
              <a:gd name="connsiteY32" fmla="*/ 449069 h 1249362"/>
              <a:gd name="connsiteX33" fmla="*/ 434700 w 754383"/>
              <a:gd name="connsiteY33" fmla="*/ 471879 h 1249362"/>
              <a:gd name="connsiteX34" fmla="*/ 457544 w 754383"/>
              <a:gd name="connsiteY34" fmla="*/ 509658 h 1249362"/>
              <a:gd name="connsiteX35" fmla="*/ 462542 w 754383"/>
              <a:gd name="connsiteY35" fmla="*/ 514648 h 1249362"/>
              <a:gd name="connsiteX36" fmla="*/ 567483 w 754383"/>
              <a:gd name="connsiteY36" fmla="*/ 657209 h 1249362"/>
              <a:gd name="connsiteX37" fmla="*/ 597466 w 754383"/>
              <a:gd name="connsiteY37" fmla="*/ 866775 h 1249362"/>
              <a:gd name="connsiteX38" fmla="*/ 563200 w 754383"/>
              <a:gd name="connsiteY38" fmla="*/ 866775 h 1249362"/>
              <a:gd name="connsiteX39" fmla="*/ 565341 w 754383"/>
              <a:gd name="connsiteY39" fmla="*/ 861073 h 1249362"/>
              <a:gd name="connsiteX40" fmla="*/ 439697 w 754383"/>
              <a:gd name="connsiteY40" fmla="*/ 536032 h 1249362"/>
              <a:gd name="connsiteX41" fmla="*/ 433986 w 754383"/>
              <a:gd name="connsiteY41" fmla="*/ 529617 h 1249362"/>
              <a:gd name="connsiteX42" fmla="*/ 395436 w 754383"/>
              <a:gd name="connsiteY42" fmla="*/ 462613 h 1249362"/>
              <a:gd name="connsiteX43" fmla="*/ 397578 w 754383"/>
              <a:gd name="connsiteY43" fmla="*/ 445505 h 1249362"/>
              <a:gd name="connsiteX44" fmla="*/ 414711 w 754383"/>
              <a:gd name="connsiteY44" fmla="*/ 441229 h 1249362"/>
              <a:gd name="connsiteX45" fmla="*/ 487528 w 754383"/>
              <a:gd name="connsiteY45" fmla="*/ 420557 h 1249362"/>
              <a:gd name="connsiteX46" fmla="*/ 533216 w 754383"/>
              <a:gd name="connsiteY46" fmla="*/ 404875 h 1249362"/>
              <a:gd name="connsiteX47" fmla="*/ 585330 w 754383"/>
              <a:gd name="connsiteY47" fmla="*/ 431962 h 1249362"/>
              <a:gd name="connsiteX48" fmla="*/ 690271 w 754383"/>
              <a:gd name="connsiteY48" fmla="*/ 473305 h 1249362"/>
              <a:gd name="connsiteX49" fmla="*/ 711688 w 754383"/>
              <a:gd name="connsiteY49" fmla="*/ 348563 h 1249362"/>
              <a:gd name="connsiteX50" fmla="*/ 595324 w 754383"/>
              <a:gd name="connsiteY50" fmla="*/ 256611 h 1249362"/>
              <a:gd name="connsiteX51" fmla="*/ 566769 w 754383"/>
              <a:gd name="connsiteY51" fmla="*/ 235227 h 1249362"/>
              <a:gd name="connsiteX52" fmla="*/ 552491 w 754383"/>
              <a:gd name="connsiteY52" fmla="*/ 213843 h 1249362"/>
              <a:gd name="connsiteX53" fmla="*/ 529647 w 754383"/>
              <a:gd name="connsiteY53" fmla="*/ 177489 h 1249362"/>
              <a:gd name="connsiteX54" fmla="*/ 422564 w 754383"/>
              <a:gd name="connsiteY54" fmla="*/ 129731 h 1249362"/>
              <a:gd name="connsiteX55" fmla="*/ 383300 w 754383"/>
              <a:gd name="connsiteY55" fmla="*/ 114762 h 1249362"/>
              <a:gd name="connsiteX56" fmla="*/ 371164 w 754383"/>
              <a:gd name="connsiteY56" fmla="*/ 74132 h 1249362"/>
              <a:gd name="connsiteX57" fmla="*/ 375448 w 754383"/>
              <a:gd name="connsiteY57" fmla="*/ 51322 h 1249362"/>
              <a:gd name="connsiteX58" fmla="*/ 375448 w 754383"/>
              <a:gd name="connsiteY58" fmla="*/ 33502 h 1249362"/>
              <a:gd name="connsiteX59" fmla="*/ 296920 w 754383"/>
              <a:gd name="connsiteY59" fmla="*/ 106921 h 1249362"/>
              <a:gd name="connsiteX60" fmla="*/ 294778 w 754383"/>
              <a:gd name="connsiteY60" fmla="*/ 109773 h 1249362"/>
              <a:gd name="connsiteX61" fmla="*/ 156285 w 754383"/>
              <a:gd name="connsiteY61" fmla="*/ 258750 h 1249362"/>
              <a:gd name="connsiteX62" fmla="*/ 143435 w 754383"/>
              <a:gd name="connsiteY62" fmla="*/ 303657 h 1249362"/>
              <a:gd name="connsiteX63" fmla="*/ 280501 w 754383"/>
              <a:gd name="connsiteY63" fmla="*/ 520350 h 1249362"/>
              <a:gd name="connsiteX64" fmla="*/ 277645 w 754383"/>
              <a:gd name="connsiteY64" fmla="*/ 540309 h 1249362"/>
              <a:gd name="connsiteX65" fmla="*/ 256942 w 754383"/>
              <a:gd name="connsiteY65" fmla="*/ 540309 h 1249362"/>
              <a:gd name="connsiteX66" fmla="*/ 121304 w 754383"/>
              <a:gd name="connsiteY66" fmla="*/ 419844 h 1249362"/>
              <a:gd name="connsiteX67" fmla="*/ 124874 w 754383"/>
              <a:gd name="connsiteY67" fmla="*/ 476869 h 1249362"/>
              <a:gd name="connsiteX68" fmla="*/ 251945 w 754383"/>
              <a:gd name="connsiteY68" fmla="*/ 627272 h 1249362"/>
              <a:gd name="connsiteX69" fmla="*/ 252659 w 754383"/>
              <a:gd name="connsiteY69" fmla="*/ 647943 h 1249362"/>
              <a:gd name="connsiteX70" fmla="*/ 232670 w 754383"/>
              <a:gd name="connsiteY70" fmla="*/ 650794 h 1249362"/>
              <a:gd name="connsiteX71" fmla="*/ 125587 w 754383"/>
              <a:gd name="connsiteY71" fmla="*/ 585929 h 1249362"/>
              <a:gd name="connsiteX72" fmla="*/ 129157 w 754383"/>
              <a:gd name="connsiteY72" fmla="*/ 618718 h 1249362"/>
              <a:gd name="connsiteX73" fmla="*/ 222676 w 754383"/>
              <a:gd name="connsiteY73" fmla="*/ 717085 h 1249362"/>
              <a:gd name="connsiteX74" fmla="*/ 224818 w 754383"/>
              <a:gd name="connsiteY74" fmla="*/ 737044 h 1249362"/>
              <a:gd name="connsiteX75" fmla="*/ 205543 w 754383"/>
              <a:gd name="connsiteY75" fmla="*/ 743459 h 1249362"/>
              <a:gd name="connsiteX76" fmla="*/ 144148 w 754383"/>
              <a:gd name="connsiteY76" fmla="*/ 723501 h 1249362"/>
              <a:gd name="connsiteX77" fmla="*/ 152715 w 754383"/>
              <a:gd name="connsiteY77" fmla="*/ 866775 h 1249362"/>
              <a:gd name="connsiteX78" fmla="*/ 121304 w 754383"/>
              <a:gd name="connsiteY78" fmla="*/ 866775 h 1249362"/>
              <a:gd name="connsiteX79" fmla="*/ 114879 w 754383"/>
              <a:gd name="connsiteY79" fmla="*/ 791930 h 1249362"/>
              <a:gd name="connsiteX80" fmla="*/ 124874 w 754383"/>
              <a:gd name="connsiteY80" fmla="*/ 694276 h 1249362"/>
              <a:gd name="connsiteX81" fmla="*/ 153429 w 754383"/>
              <a:gd name="connsiteY81" fmla="*/ 692850 h 1249362"/>
              <a:gd name="connsiteX82" fmla="*/ 99174 w 754383"/>
              <a:gd name="connsiteY82" fmla="*/ 627272 h 1249362"/>
              <a:gd name="connsiteX83" fmla="*/ 104885 w 754383"/>
              <a:gd name="connsiteY83" fmla="*/ 551714 h 1249362"/>
              <a:gd name="connsiteX84" fmla="*/ 127729 w 754383"/>
              <a:gd name="connsiteY84" fmla="*/ 550288 h 1249362"/>
              <a:gd name="connsiteX85" fmla="*/ 157712 w 754383"/>
              <a:gd name="connsiteY85" fmla="*/ 568108 h 1249362"/>
              <a:gd name="connsiteX86" fmla="*/ 94890 w 754383"/>
              <a:gd name="connsiteY86" fmla="*/ 485423 h 1249362"/>
              <a:gd name="connsiteX87" fmla="*/ 99174 w 754383"/>
              <a:gd name="connsiteY87" fmla="*/ 386342 h 1249362"/>
              <a:gd name="connsiteX88" fmla="*/ 117735 w 754383"/>
              <a:gd name="connsiteY88" fmla="*/ 380640 h 1249362"/>
              <a:gd name="connsiteX89" fmla="*/ 189123 w 754383"/>
              <a:gd name="connsiteY89" fmla="*/ 436239 h 1249362"/>
              <a:gd name="connsiteX90" fmla="*/ 184126 w 754383"/>
              <a:gd name="connsiteY90" fmla="*/ 429111 h 1249362"/>
              <a:gd name="connsiteX91" fmla="*/ 112024 w 754383"/>
              <a:gd name="connsiteY91" fmla="*/ 306508 h 1249362"/>
              <a:gd name="connsiteX92" fmla="*/ 136296 w 754383"/>
              <a:gd name="connsiteY92" fmla="*/ 234514 h 1249362"/>
              <a:gd name="connsiteX93" fmla="*/ 269078 w 754383"/>
              <a:gd name="connsiteY93" fmla="*/ 92665 h 1249362"/>
              <a:gd name="connsiteX94" fmla="*/ 271220 w 754383"/>
              <a:gd name="connsiteY94" fmla="*/ 89101 h 1249362"/>
              <a:gd name="connsiteX95" fmla="*/ 384014 w 754383"/>
              <a:gd name="connsiteY95" fmla="*/ 0 h 1249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754383" h="1249362">
                <a:moveTo>
                  <a:pt x="146047" y="1054099"/>
                </a:moveTo>
                <a:cubicBezTo>
                  <a:pt x="146047" y="1054099"/>
                  <a:pt x="146047" y="1054099"/>
                  <a:pt x="595723" y="1054099"/>
                </a:cubicBezTo>
                <a:cubicBezTo>
                  <a:pt x="597151" y="1055530"/>
                  <a:pt x="598578" y="1056245"/>
                  <a:pt x="600006" y="1057675"/>
                </a:cubicBezTo>
                <a:cubicBezTo>
                  <a:pt x="600006" y="1057675"/>
                  <a:pt x="600006" y="1057675"/>
                  <a:pt x="738478" y="1225044"/>
                </a:cubicBezTo>
                <a:cubicBezTo>
                  <a:pt x="746329" y="1234342"/>
                  <a:pt x="739192" y="1249362"/>
                  <a:pt x="727057" y="1249362"/>
                </a:cubicBezTo>
                <a:cubicBezTo>
                  <a:pt x="727057" y="1249362"/>
                  <a:pt x="727057" y="1249362"/>
                  <a:pt x="14713" y="1249362"/>
                </a:cubicBezTo>
                <a:cubicBezTo>
                  <a:pt x="2578" y="1249362"/>
                  <a:pt x="-4559" y="1234342"/>
                  <a:pt x="3292" y="1225044"/>
                </a:cubicBezTo>
                <a:cubicBezTo>
                  <a:pt x="3292" y="1225044"/>
                  <a:pt x="3292" y="1225044"/>
                  <a:pt x="141764" y="1057675"/>
                </a:cubicBezTo>
                <a:cubicBezTo>
                  <a:pt x="143192" y="1056245"/>
                  <a:pt x="144620" y="1055530"/>
                  <a:pt x="146047" y="1054099"/>
                </a:cubicBezTo>
                <a:close/>
                <a:moveTo>
                  <a:pt x="93070" y="898524"/>
                </a:moveTo>
                <a:cubicBezTo>
                  <a:pt x="93070" y="898524"/>
                  <a:pt x="93070" y="898524"/>
                  <a:pt x="648699" y="898524"/>
                </a:cubicBezTo>
                <a:cubicBezTo>
                  <a:pt x="652270" y="898524"/>
                  <a:pt x="655841" y="902103"/>
                  <a:pt x="655841" y="905682"/>
                </a:cubicBezTo>
                <a:cubicBezTo>
                  <a:pt x="655841" y="905682"/>
                  <a:pt x="655841" y="905682"/>
                  <a:pt x="655841" y="1015192"/>
                </a:cubicBezTo>
                <a:cubicBezTo>
                  <a:pt x="655841" y="1019486"/>
                  <a:pt x="652270" y="1022349"/>
                  <a:pt x="648699" y="1022349"/>
                </a:cubicBezTo>
                <a:cubicBezTo>
                  <a:pt x="648699" y="1022349"/>
                  <a:pt x="648699" y="1022349"/>
                  <a:pt x="93070" y="1022349"/>
                </a:cubicBezTo>
                <a:cubicBezTo>
                  <a:pt x="89499" y="1022349"/>
                  <a:pt x="85928" y="1019486"/>
                  <a:pt x="85928" y="1015192"/>
                </a:cubicBezTo>
                <a:cubicBezTo>
                  <a:pt x="85928" y="1015192"/>
                  <a:pt x="85928" y="1015192"/>
                  <a:pt x="85928" y="905682"/>
                </a:cubicBezTo>
                <a:cubicBezTo>
                  <a:pt x="85928" y="902103"/>
                  <a:pt x="89499" y="898524"/>
                  <a:pt x="93070" y="898524"/>
                </a:cubicBezTo>
                <a:close/>
                <a:moveTo>
                  <a:pt x="384014" y="0"/>
                </a:moveTo>
                <a:cubicBezTo>
                  <a:pt x="388297" y="0"/>
                  <a:pt x="392581" y="1426"/>
                  <a:pt x="396150" y="4277"/>
                </a:cubicBezTo>
                <a:cubicBezTo>
                  <a:pt x="400434" y="7841"/>
                  <a:pt x="409714" y="19959"/>
                  <a:pt x="406858" y="54174"/>
                </a:cubicBezTo>
                <a:cubicBezTo>
                  <a:pt x="405431" y="66291"/>
                  <a:pt x="403289" y="74845"/>
                  <a:pt x="401861" y="81260"/>
                </a:cubicBezTo>
                <a:cubicBezTo>
                  <a:pt x="401147" y="83399"/>
                  <a:pt x="400434" y="86250"/>
                  <a:pt x="400434" y="87676"/>
                </a:cubicBezTo>
                <a:cubicBezTo>
                  <a:pt x="404003" y="89814"/>
                  <a:pt x="418995" y="95516"/>
                  <a:pt x="432558" y="99793"/>
                </a:cubicBezTo>
                <a:cubicBezTo>
                  <a:pt x="488242" y="119039"/>
                  <a:pt x="536072" y="136147"/>
                  <a:pt x="553205" y="157531"/>
                </a:cubicBezTo>
                <a:cubicBezTo>
                  <a:pt x="568197" y="175351"/>
                  <a:pt x="575336" y="189607"/>
                  <a:pt x="580333" y="200299"/>
                </a:cubicBezTo>
                <a:cubicBezTo>
                  <a:pt x="583188" y="205289"/>
                  <a:pt x="585330" y="210279"/>
                  <a:pt x="587472" y="212417"/>
                </a:cubicBezTo>
                <a:cubicBezTo>
                  <a:pt x="589613" y="214555"/>
                  <a:pt x="601749" y="223109"/>
                  <a:pt x="613885" y="230950"/>
                </a:cubicBezTo>
                <a:cubicBezTo>
                  <a:pt x="690271" y="285123"/>
                  <a:pt x="733104" y="317913"/>
                  <a:pt x="740957" y="335733"/>
                </a:cubicBezTo>
                <a:cubicBezTo>
                  <a:pt x="751665" y="362107"/>
                  <a:pt x="778079" y="466890"/>
                  <a:pt x="703835" y="501817"/>
                </a:cubicBezTo>
                <a:cubicBezTo>
                  <a:pt x="654577" y="525340"/>
                  <a:pt x="601035" y="483997"/>
                  <a:pt x="566055" y="456910"/>
                </a:cubicBezTo>
                <a:cubicBezTo>
                  <a:pt x="555347" y="448357"/>
                  <a:pt x="541069" y="437664"/>
                  <a:pt x="536072" y="436239"/>
                </a:cubicBezTo>
                <a:cubicBezTo>
                  <a:pt x="528933" y="437664"/>
                  <a:pt x="513228" y="443367"/>
                  <a:pt x="499664" y="449069"/>
                </a:cubicBezTo>
                <a:cubicBezTo>
                  <a:pt x="473964" y="459762"/>
                  <a:pt x="452547" y="468315"/>
                  <a:pt x="434700" y="471879"/>
                </a:cubicBezTo>
                <a:cubicBezTo>
                  <a:pt x="441839" y="485423"/>
                  <a:pt x="451119" y="501104"/>
                  <a:pt x="457544" y="509658"/>
                </a:cubicBezTo>
                <a:cubicBezTo>
                  <a:pt x="458972" y="510371"/>
                  <a:pt x="460400" y="512509"/>
                  <a:pt x="462542" y="514648"/>
                </a:cubicBezTo>
                <a:cubicBezTo>
                  <a:pt x="479675" y="533181"/>
                  <a:pt x="530361" y="589493"/>
                  <a:pt x="567483" y="657209"/>
                </a:cubicBezTo>
                <a:cubicBezTo>
                  <a:pt x="613885" y="739895"/>
                  <a:pt x="623880" y="810463"/>
                  <a:pt x="597466" y="866775"/>
                </a:cubicBezTo>
                <a:cubicBezTo>
                  <a:pt x="597466" y="866775"/>
                  <a:pt x="597466" y="866775"/>
                  <a:pt x="563200" y="866775"/>
                </a:cubicBezTo>
                <a:cubicBezTo>
                  <a:pt x="563200" y="864637"/>
                  <a:pt x="563913" y="863211"/>
                  <a:pt x="565341" y="861073"/>
                </a:cubicBezTo>
                <a:cubicBezTo>
                  <a:pt x="606747" y="786941"/>
                  <a:pt x="561772" y="671466"/>
                  <a:pt x="439697" y="536032"/>
                </a:cubicBezTo>
                <a:cubicBezTo>
                  <a:pt x="436842" y="533181"/>
                  <a:pt x="434700" y="531042"/>
                  <a:pt x="433986" y="529617"/>
                </a:cubicBezTo>
                <a:cubicBezTo>
                  <a:pt x="417567" y="510371"/>
                  <a:pt x="397578" y="467602"/>
                  <a:pt x="395436" y="462613"/>
                </a:cubicBezTo>
                <a:cubicBezTo>
                  <a:pt x="392581" y="456910"/>
                  <a:pt x="393295" y="449782"/>
                  <a:pt x="397578" y="445505"/>
                </a:cubicBezTo>
                <a:cubicBezTo>
                  <a:pt x="401861" y="440516"/>
                  <a:pt x="409000" y="439090"/>
                  <a:pt x="414711" y="441229"/>
                </a:cubicBezTo>
                <a:cubicBezTo>
                  <a:pt x="426133" y="445505"/>
                  <a:pt x="466111" y="429111"/>
                  <a:pt x="487528" y="420557"/>
                </a:cubicBezTo>
                <a:cubicBezTo>
                  <a:pt x="506803" y="412716"/>
                  <a:pt x="522508" y="406301"/>
                  <a:pt x="533216" y="404875"/>
                </a:cubicBezTo>
                <a:cubicBezTo>
                  <a:pt x="547494" y="403450"/>
                  <a:pt x="562486" y="414855"/>
                  <a:pt x="585330" y="431962"/>
                </a:cubicBezTo>
                <a:cubicBezTo>
                  <a:pt x="616027" y="455485"/>
                  <a:pt x="658860" y="488274"/>
                  <a:pt x="690271" y="473305"/>
                </a:cubicBezTo>
                <a:cubicBezTo>
                  <a:pt x="741671" y="449782"/>
                  <a:pt x="718827" y="364245"/>
                  <a:pt x="711688" y="348563"/>
                </a:cubicBezTo>
                <a:cubicBezTo>
                  <a:pt x="704549" y="333594"/>
                  <a:pt x="625308" y="277995"/>
                  <a:pt x="595324" y="256611"/>
                </a:cubicBezTo>
                <a:cubicBezTo>
                  <a:pt x="577477" y="244493"/>
                  <a:pt x="569625" y="238791"/>
                  <a:pt x="566769" y="235227"/>
                </a:cubicBezTo>
                <a:cubicBezTo>
                  <a:pt x="559630" y="229524"/>
                  <a:pt x="556061" y="222396"/>
                  <a:pt x="552491" y="213843"/>
                </a:cubicBezTo>
                <a:cubicBezTo>
                  <a:pt x="547494" y="203863"/>
                  <a:pt x="541783" y="192458"/>
                  <a:pt x="529647" y="177489"/>
                </a:cubicBezTo>
                <a:cubicBezTo>
                  <a:pt x="516083" y="161808"/>
                  <a:pt x="455403" y="140423"/>
                  <a:pt x="422564" y="129731"/>
                </a:cubicBezTo>
                <a:cubicBezTo>
                  <a:pt x="400434" y="121890"/>
                  <a:pt x="389011" y="118326"/>
                  <a:pt x="383300" y="114762"/>
                </a:cubicBezTo>
                <a:cubicBezTo>
                  <a:pt x="364025" y="102645"/>
                  <a:pt x="368309" y="86250"/>
                  <a:pt x="371164" y="74132"/>
                </a:cubicBezTo>
                <a:cubicBezTo>
                  <a:pt x="372592" y="67717"/>
                  <a:pt x="374734" y="60589"/>
                  <a:pt x="375448" y="51322"/>
                </a:cubicBezTo>
                <a:cubicBezTo>
                  <a:pt x="376161" y="43481"/>
                  <a:pt x="376161" y="37779"/>
                  <a:pt x="375448" y="33502"/>
                </a:cubicBezTo>
                <a:cubicBezTo>
                  <a:pt x="339039" y="44907"/>
                  <a:pt x="308342" y="90527"/>
                  <a:pt x="296920" y="106921"/>
                </a:cubicBezTo>
                <a:cubicBezTo>
                  <a:pt x="296920" y="106921"/>
                  <a:pt x="296920" y="106921"/>
                  <a:pt x="294778" y="109773"/>
                </a:cubicBezTo>
                <a:cubicBezTo>
                  <a:pt x="281928" y="129018"/>
                  <a:pt x="171990" y="245919"/>
                  <a:pt x="156285" y="258750"/>
                </a:cubicBezTo>
                <a:cubicBezTo>
                  <a:pt x="149146" y="264452"/>
                  <a:pt x="144148" y="288688"/>
                  <a:pt x="143435" y="303657"/>
                </a:cubicBezTo>
                <a:cubicBezTo>
                  <a:pt x="154143" y="324328"/>
                  <a:pt x="231956" y="445505"/>
                  <a:pt x="280501" y="520350"/>
                </a:cubicBezTo>
                <a:cubicBezTo>
                  <a:pt x="284784" y="526766"/>
                  <a:pt x="283356" y="535319"/>
                  <a:pt x="277645" y="540309"/>
                </a:cubicBezTo>
                <a:cubicBezTo>
                  <a:pt x="271220" y="546011"/>
                  <a:pt x="262654" y="545299"/>
                  <a:pt x="256942" y="540309"/>
                </a:cubicBezTo>
                <a:cubicBezTo>
                  <a:pt x="204829" y="491838"/>
                  <a:pt x="147004" y="440516"/>
                  <a:pt x="121304" y="419844"/>
                </a:cubicBezTo>
                <a:cubicBezTo>
                  <a:pt x="119876" y="436952"/>
                  <a:pt x="121304" y="464751"/>
                  <a:pt x="124874" y="476869"/>
                </a:cubicBezTo>
                <a:cubicBezTo>
                  <a:pt x="130585" y="490412"/>
                  <a:pt x="194120" y="563832"/>
                  <a:pt x="251945" y="627272"/>
                </a:cubicBezTo>
                <a:cubicBezTo>
                  <a:pt x="257656" y="632974"/>
                  <a:pt x="257656" y="641528"/>
                  <a:pt x="252659" y="647943"/>
                </a:cubicBezTo>
                <a:cubicBezTo>
                  <a:pt x="247662" y="653645"/>
                  <a:pt x="239095" y="655071"/>
                  <a:pt x="232670" y="650794"/>
                </a:cubicBezTo>
                <a:cubicBezTo>
                  <a:pt x="231243" y="650794"/>
                  <a:pt x="157712" y="605174"/>
                  <a:pt x="125587" y="585929"/>
                </a:cubicBezTo>
                <a:cubicBezTo>
                  <a:pt x="125587" y="595908"/>
                  <a:pt x="127015" y="610164"/>
                  <a:pt x="129157" y="618718"/>
                </a:cubicBezTo>
                <a:cubicBezTo>
                  <a:pt x="134868" y="629410"/>
                  <a:pt x="181984" y="677881"/>
                  <a:pt x="222676" y="717085"/>
                </a:cubicBezTo>
                <a:cubicBezTo>
                  <a:pt x="228387" y="722788"/>
                  <a:pt x="229101" y="730629"/>
                  <a:pt x="224818" y="737044"/>
                </a:cubicBezTo>
                <a:cubicBezTo>
                  <a:pt x="220534" y="743459"/>
                  <a:pt x="212682" y="746311"/>
                  <a:pt x="205543" y="743459"/>
                </a:cubicBezTo>
                <a:cubicBezTo>
                  <a:pt x="181984" y="733480"/>
                  <a:pt x="156998" y="725639"/>
                  <a:pt x="144148" y="723501"/>
                </a:cubicBezTo>
                <a:cubicBezTo>
                  <a:pt x="142721" y="746311"/>
                  <a:pt x="147004" y="811889"/>
                  <a:pt x="152715" y="866775"/>
                </a:cubicBezTo>
                <a:cubicBezTo>
                  <a:pt x="152715" y="866775"/>
                  <a:pt x="152715" y="866775"/>
                  <a:pt x="121304" y="866775"/>
                </a:cubicBezTo>
                <a:cubicBezTo>
                  <a:pt x="119876" y="856796"/>
                  <a:pt x="117021" y="824007"/>
                  <a:pt x="114879" y="791930"/>
                </a:cubicBezTo>
                <a:cubicBezTo>
                  <a:pt x="109168" y="707106"/>
                  <a:pt x="114879" y="699265"/>
                  <a:pt x="124874" y="694276"/>
                </a:cubicBezTo>
                <a:cubicBezTo>
                  <a:pt x="127729" y="692137"/>
                  <a:pt x="134154" y="689286"/>
                  <a:pt x="153429" y="692850"/>
                </a:cubicBezTo>
                <a:cubicBezTo>
                  <a:pt x="125587" y="664338"/>
                  <a:pt x="102029" y="638676"/>
                  <a:pt x="99174" y="627272"/>
                </a:cubicBezTo>
                <a:cubicBezTo>
                  <a:pt x="99174" y="626559"/>
                  <a:pt x="84182" y="567396"/>
                  <a:pt x="104885" y="551714"/>
                </a:cubicBezTo>
                <a:cubicBezTo>
                  <a:pt x="111310" y="546724"/>
                  <a:pt x="119876" y="546011"/>
                  <a:pt x="127729" y="550288"/>
                </a:cubicBezTo>
                <a:cubicBezTo>
                  <a:pt x="132012" y="553139"/>
                  <a:pt x="143435" y="559555"/>
                  <a:pt x="157712" y="568108"/>
                </a:cubicBezTo>
                <a:cubicBezTo>
                  <a:pt x="125587" y="531755"/>
                  <a:pt x="97746" y="497540"/>
                  <a:pt x="94890" y="485423"/>
                </a:cubicBezTo>
                <a:cubicBezTo>
                  <a:pt x="91321" y="473305"/>
                  <a:pt x="82754" y="404162"/>
                  <a:pt x="99174" y="386342"/>
                </a:cubicBezTo>
                <a:cubicBezTo>
                  <a:pt x="104171" y="381353"/>
                  <a:pt x="111310" y="379214"/>
                  <a:pt x="117735" y="380640"/>
                </a:cubicBezTo>
                <a:cubicBezTo>
                  <a:pt x="122732" y="381353"/>
                  <a:pt x="128443" y="382778"/>
                  <a:pt x="189123" y="436239"/>
                </a:cubicBezTo>
                <a:cubicBezTo>
                  <a:pt x="187695" y="434100"/>
                  <a:pt x="186268" y="431249"/>
                  <a:pt x="184126" y="429111"/>
                </a:cubicBezTo>
                <a:cubicBezTo>
                  <a:pt x="112024" y="316487"/>
                  <a:pt x="112024" y="312923"/>
                  <a:pt x="112024" y="306508"/>
                </a:cubicBezTo>
                <a:cubicBezTo>
                  <a:pt x="112024" y="306508"/>
                  <a:pt x="112737" y="253760"/>
                  <a:pt x="136296" y="234514"/>
                </a:cubicBezTo>
                <a:cubicBezTo>
                  <a:pt x="152001" y="221684"/>
                  <a:pt x="258370" y="106921"/>
                  <a:pt x="269078" y="92665"/>
                </a:cubicBezTo>
                <a:cubicBezTo>
                  <a:pt x="269078" y="92665"/>
                  <a:pt x="269078" y="92665"/>
                  <a:pt x="271220" y="89101"/>
                </a:cubicBezTo>
                <a:cubicBezTo>
                  <a:pt x="286926" y="66291"/>
                  <a:pt x="327617" y="4990"/>
                  <a:pt x="384014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4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 Strategic Plannin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2882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94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74789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SzPts val="3400"/>
            </a:pPr>
            <a:r>
              <a:rPr lang="en-US" dirty="0" err="1">
                <a:latin typeface="Trebuchet MS" panose="020B0603020202020204" pitchFamily="34" charset="0"/>
              </a:rPr>
              <a:t>FEC</a:t>
            </a:r>
            <a:r>
              <a:rPr lang="en-US" dirty="0">
                <a:latin typeface="Trebuchet MS" panose="020B0603020202020204" pitchFamily="34" charset="0"/>
              </a:rPr>
              <a:t> will define a sourcing strategy for each category</a:t>
            </a:r>
            <a:br>
              <a:rPr lang="en-US" dirty="0">
                <a:latin typeface="Trebuchet MS" panose="020B0603020202020204" pitchFamily="34" charset="0"/>
              </a:rPr>
            </a:br>
            <a:r>
              <a:rPr lang="en-US" sz="2000" dirty="0">
                <a:solidFill>
                  <a:schemeClr val="tx1"/>
                </a:solidFill>
                <a:latin typeface="Trebuchet MS" panose="020B0603020202020204" pitchFamily="34" charset="0"/>
              </a:rPr>
              <a:t>Strategy analysis will be broader for critical top spend categories</a:t>
            </a:r>
          </a:p>
        </p:txBody>
      </p:sp>
      <p:sp>
        <p:nvSpPr>
          <p:cNvPr id="3" name="ee4pFootnotes"/>
          <p:cNvSpPr>
            <a:spLocks noChangeArrowheads="1"/>
          </p:cNvSpPr>
          <p:nvPr/>
        </p:nvSpPr>
        <p:spPr bwMode="auto">
          <a:xfrm>
            <a:off x="630000" y="6145473"/>
            <a:ext cx="10933200" cy="415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Note: List of categories shown as an example, not exhaustive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1. Calendar days   2. 45 days of initial context and supplier market analysis (if required) and 45 days to detail the category strategy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 Energy; team analysis</a:t>
            </a:r>
          </a:p>
        </p:txBody>
      </p:sp>
      <p:sp>
        <p:nvSpPr>
          <p:cNvPr id="4" name="Rectangle 3"/>
          <p:cNvSpPr/>
          <p:nvPr/>
        </p:nvSpPr>
        <p:spPr>
          <a:xfrm>
            <a:off x="8688186" y="2120519"/>
            <a:ext cx="2661804" cy="4200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</a:rPr>
              <a:t>In-depth analysi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330168" y="2120519"/>
            <a:ext cx="2939055" cy="4200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</a:rPr>
              <a:t>Standard analysi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2010295" y="2120519"/>
            <a:ext cx="2900909" cy="4200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Trebuchet MS" panose="020B0603020202020204" pitchFamily="34" charset="0"/>
              </a:rPr>
              <a:t>Basic analysis</a:t>
            </a:r>
          </a:p>
        </p:txBody>
      </p:sp>
      <p:sp>
        <p:nvSpPr>
          <p:cNvPr id="35" name="Right Triangle 34"/>
          <p:cNvSpPr/>
          <p:nvPr/>
        </p:nvSpPr>
        <p:spPr>
          <a:xfrm flipH="1">
            <a:off x="1920366" y="5790882"/>
            <a:ext cx="9429474" cy="232064"/>
          </a:xfrm>
          <a:prstGeom prst="rt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rgbClr val="FFFFFF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8845214" y="5801499"/>
            <a:ext cx="2504626" cy="2214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Depth of analysis</a:t>
            </a:r>
          </a:p>
        </p:txBody>
      </p:sp>
      <p:grpSp>
        <p:nvGrpSpPr>
          <p:cNvPr id="36" name="Group 35"/>
          <p:cNvGrpSpPr>
            <a:grpSpLocks noChangeAspect="1"/>
          </p:cNvGrpSpPr>
          <p:nvPr/>
        </p:nvGrpSpPr>
        <p:grpSpPr>
          <a:xfrm>
            <a:off x="11042930" y="5777418"/>
            <a:ext cx="245528" cy="245528"/>
            <a:chOff x="5961063" y="3294063"/>
            <a:chExt cx="269875" cy="269875"/>
          </a:xfrm>
        </p:grpSpPr>
        <p:sp>
          <p:nvSpPr>
            <p:cNvPr id="38" name="Oval 6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auto">
            <a:xfrm>
              <a:off x="6022975" y="3355975"/>
              <a:ext cx="146050" cy="146050"/>
            </a:xfrm>
            <a:custGeom>
              <a:avLst/>
              <a:gdLst>
                <a:gd name="T0" fmla="*/ 50 w 92"/>
                <a:gd name="T1" fmla="*/ 0 h 92"/>
                <a:gd name="T2" fmla="*/ 41 w 92"/>
                <a:gd name="T3" fmla="*/ 0 h 92"/>
                <a:gd name="T4" fmla="*/ 41 w 92"/>
                <a:gd name="T5" fmla="*/ 42 h 92"/>
                <a:gd name="T6" fmla="*/ 0 w 92"/>
                <a:gd name="T7" fmla="*/ 42 h 92"/>
                <a:gd name="T8" fmla="*/ 0 w 92"/>
                <a:gd name="T9" fmla="*/ 51 h 92"/>
                <a:gd name="T10" fmla="*/ 41 w 92"/>
                <a:gd name="T11" fmla="*/ 51 h 92"/>
                <a:gd name="T12" fmla="*/ 41 w 92"/>
                <a:gd name="T13" fmla="*/ 92 h 92"/>
                <a:gd name="T14" fmla="*/ 50 w 92"/>
                <a:gd name="T15" fmla="*/ 92 h 92"/>
                <a:gd name="T16" fmla="*/ 50 w 92"/>
                <a:gd name="T17" fmla="*/ 51 h 92"/>
                <a:gd name="T18" fmla="*/ 92 w 92"/>
                <a:gd name="T19" fmla="*/ 51 h 92"/>
                <a:gd name="T20" fmla="*/ 92 w 92"/>
                <a:gd name="T21" fmla="*/ 42 h 92"/>
                <a:gd name="T22" fmla="*/ 50 w 92"/>
                <a:gd name="T23" fmla="*/ 42 h 92"/>
                <a:gd name="T24" fmla="*/ 50 w 92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92">
                  <a:moveTo>
                    <a:pt x="50" y="0"/>
                  </a:moveTo>
                  <a:lnTo>
                    <a:pt x="41" y="0"/>
                  </a:lnTo>
                  <a:lnTo>
                    <a:pt x="41" y="42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41" y="51"/>
                  </a:lnTo>
                  <a:lnTo>
                    <a:pt x="41" y="92"/>
                  </a:lnTo>
                  <a:lnTo>
                    <a:pt x="50" y="92"/>
                  </a:lnTo>
                  <a:lnTo>
                    <a:pt x="50" y="51"/>
                  </a:lnTo>
                  <a:lnTo>
                    <a:pt x="92" y="51"/>
                  </a:lnTo>
                  <a:lnTo>
                    <a:pt x="92" y="42"/>
                  </a:lnTo>
                  <a:lnTo>
                    <a:pt x="50" y="4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>
            <a:grpSpLocks noChangeAspect="1"/>
          </p:cNvGrpSpPr>
          <p:nvPr/>
        </p:nvGrpSpPr>
        <p:grpSpPr>
          <a:xfrm>
            <a:off x="2043900" y="5777418"/>
            <a:ext cx="245528" cy="245528"/>
            <a:chOff x="1500504" y="2251075"/>
            <a:chExt cx="269875" cy="269875"/>
          </a:xfrm>
        </p:grpSpPr>
        <p:sp>
          <p:nvSpPr>
            <p:cNvPr id="56" name="Oval 10"/>
            <p:cNvSpPr>
              <a:spLocks noChangeArrowheads="1"/>
            </p:cNvSpPr>
            <p:nvPr/>
          </p:nvSpPr>
          <p:spPr bwMode="auto">
            <a:xfrm>
              <a:off x="1500504" y="2251075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61" name="Rectangle 11"/>
            <p:cNvSpPr>
              <a:spLocks noChangeArrowheads="1"/>
            </p:cNvSpPr>
            <p:nvPr/>
          </p:nvSpPr>
          <p:spPr bwMode="auto">
            <a:xfrm>
              <a:off x="1562416" y="2378075"/>
              <a:ext cx="146050" cy="174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06480" y="2849856"/>
            <a:ext cx="11060544" cy="1938992"/>
            <a:chOff x="630000" y="3953567"/>
            <a:chExt cx="11060544" cy="1938992"/>
          </a:xfrm>
        </p:grpSpPr>
        <p:sp>
          <p:nvSpPr>
            <p:cNvPr id="5" name="Rectangle 4"/>
            <p:cNvSpPr/>
            <p:nvPr/>
          </p:nvSpPr>
          <p:spPr>
            <a:xfrm>
              <a:off x="630000" y="3953567"/>
              <a:ext cx="1413796" cy="135421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de-DE" sz="1400" dirty="0">
                  <a:solidFill>
                    <a:srgbClr val="B61872"/>
                  </a:solidFill>
                </a:rPr>
                <a:t>Applies to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8901546" y="3953567"/>
              <a:ext cx="2788998" cy="193899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64800" lvl="1">
                <a:buClr>
                  <a:srgbClr val="7F7F7F">
                    <a:lumMod val="100000"/>
                  </a:srgbClr>
                </a:buClr>
                <a:buSzPct val="100000"/>
              </a:pPr>
              <a:r>
                <a:rPr lang="en-US" sz="14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Top spend critical categories including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Rig rental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Well construction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 err="1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O&amp;M</a:t>
              </a:r>
              <a:endParaRPr lang="en-US" sz="1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Civil and mechanical works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Field admin. services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 err="1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OCTG</a:t>
              </a:r>
              <a:endParaRPr lang="en-US" sz="1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Fuel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503788" y="3953567"/>
              <a:ext cx="3216008" cy="193899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64800" lvl="1">
                <a:buClr>
                  <a:srgbClr val="7F7F7F">
                    <a:lumMod val="100000"/>
                  </a:srgbClr>
                </a:buClr>
                <a:buSzPct val="100000"/>
              </a:pPr>
              <a:r>
                <a:rPr lang="en-US" sz="14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Medium criticality categories including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Well testing/production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Petroleum engineering 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Seismic and Geological serv.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Mechanical and Electrical Maintenance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Air Transport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Chemicals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Line pipe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225547" y="3953567"/>
              <a:ext cx="3096490" cy="172354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64800" lvl="1">
                <a:buClr>
                  <a:srgbClr val="7F7F7F">
                    <a:lumMod val="100000"/>
                  </a:srgbClr>
                </a:buClr>
                <a:buSzPct val="100000"/>
              </a:pPr>
              <a:r>
                <a:rPr lang="en-US" sz="14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Less-critical categories including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Environmental, CSR services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Tech. auditing and supervision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Telecommunications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Admin., </a:t>
              </a:r>
              <a:r>
                <a:rPr lang="en-US" sz="1400" dirty="0" err="1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, and technical consulting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Minor tools and hardware</a:t>
              </a:r>
            </a:p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Industrial safety tools</a:t>
              </a:r>
            </a:p>
          </p:txBody>
        </p:sp>
        <p:cxnSp>
          <p:nvCxnSpPr>
            <p:cNvPr id="32" name="Straight Connector 31"/>
            <p:cNvCxnSpPr/>
            <p:nvPr/>
          </p:nvCxnSpPr>
          <p:spPr>
            <a:xfrm>
              <a:off x="2133726" y="3953567"/>
              <a:ext cx="0" cy="1908000"/>
            </a:xfrm>
            <a:prstGeom prst="line">
              <a:avLst/>
            </a:prstGeom>
            <a:ln w="9525">
              <a:solidFill>
                <a:srgbClr val="7F7F7F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>
            <a:grpSpLocks noChangeAspect="1"/>
          </p:cNvGrpSpPr>
          <p:nvPr/>
        </p:nvGrpSpPr>
        <p:grpSpPr>
          <a:xfrm>
            <a:off x="5290428" y="1822285"/>
            <a:ext cx="521908" cy="521908"/>
            <a:chOff x="5273675" y="2606039"/>
            <a:chExt cx="1644650" cy="1644650"/>
          </a:xfrm>
        </p:grpSpPr>
        <p:sp>
          <p:nvSpPr>
            <p:cNvPr id="49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039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5443803" y="2822733"/>
              <a:ext cx="1304394" cy="1211263"/>
              <a:chOff x="5443803" y="2822733"/>
              <a:chExt cx="1304394" cy="1211263"/>
            </a:xfrm>
          </p:grpSpPr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5597791" y="3014821"/>
                <a:ext cx="582613" cy="563563"/>
              </a:xfrm>
              <a:custGeom>
                <a:avLst/>
                <a:gdLst>
                  <a:gd name="connsiteX0" fmla="*/ 16442 w 582613"/>
                  <a:gd name="connsiteY0" fmla="*/ 530225 h 563563"/>
                  <a:gd name="connsiteX1" fmla="*/ 566171 w 582613"/>
                  <a:gd name="connsiteY1" fmla="*/ 530225 h 563563"/>
                  <a:gd name="connsiteX2" fmla="*/ 582613 w 582613"/>
                  <a:gd name="connsiteY2" fmla="*/ 546524 h 563563"/>
                  <a:gd name="connsiteX3" fmla="*/ 566171 w 582613"/>
                  <a:gd name="connsiteY3" fmla="*/ 563563 h 563563"/>
                  <a:gd name="connsiteX4" fmla="*/ 16442 w 582613"/>
                  <a:gd name="connsiteY4" fmla="*/ 563563 h 563563"/>
                  <a:gd name="connsiteX5" fmla="*/ 0 w 582613"/>
                  <a:gd name="connsiteY5" fmla="*/ 546524 h 563563"/>
                  <a:gd name="connsiteX6" fmla="*/ 16442 w 582613"/>
                  <a:gd name="connsiteY6" fmla="*/ 530225 h 563563"/>
                  <a:gd name="connsiteX7" fmla="*/ 16442 w 582613"/>
                  <a:gd name="connsiteY7" fmla="*/ 398462 h 563563"/>
                  <a:gd name="connsiteX8" fmla="*/ 566171 w 582613"/>
                  <a:gd name="connsiteY8" fmla="*/ 398462 h 563563"/>
                  <a:gd name="connsiteX9" fmla="*/ 582613 w 582613"/>
                  <a:gd name="connsiteY9" fmla="*/ 414776 h 563563"/>
                  <a:gd name="connsiteX10" fmla="*/ 566171 w 582613"/>
                  <a:gd name="connsiteY10" fmla="*/ 431800 h 563563"/>
                  <a:gd name="connsiteX11" fmla="*/ 16442 w 582613"/>
                  <a:gd name="connsiteY11" fmla="*/ 431800 h 563563"/>
                  <a:gd name="connsiteX12" fmla="*/ 0 w 582613"/>
                  <a:gd name="connsiteY12" fmla="*/ 414776 h 563563"/>
                  <a:gd name="connsiteX13" fmla="*/ 16442 w 582613"/>
                  <a:gd name="connsiteY13" fmla="*/ 398462 h 563563"/>
                  <a:gd name="connsiteX14" fmla="*/ 16442 w 582613"/>
                  <a:gd name="connsiteY14" fmla="*/ 265112 h 563563"/>
                  <a:gd name="connsiteX15" fmla="*/ 566171 w 582613"/>
                  <a:gd name="connsiteY15" fmla="*/ 265112 h 563563"/>
                  <a:gd name="connsiteX16" fmla="*/ 582613 w 582613"/>
                  <a:gd name="connsiteY16" fmla="*/ 282946 h 563563"/>
                  <a:gd name="connsiteX17" fmla="*/ 566171 w 582613"/>
                  <a:gd name="connsiteY17" fmla="*/ 300037 h 563563"/>
                  <a:gd name="connsiteX18" fmla="*/ 16442 w 582613"/>
                  <a:gd name="connsiteY18" fmla="*/ 300037 h 563563"/>
                  <a:gd name="connsiteX19" fmla="*/ 0 w 582613"/>
                  <a:gd name="connsiteY19" fmla="*/ 282946 h 563563"/>
                  <a:gd name="connsiteX20" fmla="*/ 16442 w 582613"/>
                  <a:gd name="connsiteY20" fmla="*/ 265112 h 563563"/>
                  <a:gd name="connsiteX21" fmla="*/ 16442 w 582613"/>
                  <a:gd name="connsiteY21" fmla="*/ 133350 h 563563"/>
                  <a:gd name="connsiteX22" fmla="*/ 566171 w 582613"/>
                  <a:gd name="connsiteY22" fmla="*/ 133350 h 563563"/>
                  <a:gd name="connsiteX23" fmla="*/ 582613 w 582613"/>
                  <a:gd name="connsiteY23" fmla="*/ 149664 h 563563"/>
                  <a:gd name="connsiteX24" fmla="*/ 566171 w 582613"/>
                  <a:gd name="connsiteY24" fmla="*/ 166688 h 563563"/>
                  <a:gd name="connsiteX25" fmla="*/ 16442 w 582613"/>
                  <a:gd name="connsiteY25" fmla="*/ 166688 h 563563"/>
                  <a:gd name="connsiteX26" fmla="*/ 0 w 582613"/>
                  <a:gd name="connsiteY26" fmla="*/ 149664 h 563563"/>
                  <a:gd name="connsiteX27" fmla="*/ 16442 w 582613"/>
                  <a:gd name="connsiteY27" fmla="*/ 133350 h 563563"/>
                  <a:gd name="connsiteX28" fmla="*/ 16442 w 582613"/>
                  <a:gd name="connsiteY28" fmla="*/ 0 h 563563"/>
                  <a:gd name="connsiteX29" fmla="*/ 566171 w 582613"/>
                  <a:gd name="connsiteY29" fmla="*/ 0 h 563563"/>
                  <a:gd name="connsiteX30" fmla="*/ 582613 w 582613"/>
                  <a:gd name="connsiteY30" fmla="*/ 16669 h 563563"/>
                  <a:gd name="connsiteX31" fmla="*/ 566171 w 582613"/>
                  <a:gd name="connsiteY31" fmla="*/ 33338 h 563563"/>
                  <a:gd name="connsiteX32" fmla="*/ 16442 w 582613"/>
                  <a:gd name="connsiteY32" fmla="*/ 33338 h 563563"/>
                  <a:gd name="connsiteX33" fmla="*/ 0 w 582613"/>
                  <a:gd name="connsiteY33" fmla="*/ 16669 h 563563"/>
                  <a:gd name="connsiteX34" fmla="*/ 16442 w 582613"/>
                  <a:gd name="connsiteY34" fmla="*/ 0 h 563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82613" h="563563">
                    <a:moveTo>
                      <a:pt x="16442" y="530225"/>
                    </a:moveTo>
                    <a:cubicBezTo>
                      <a:pt x="566171" y="530225"/>
                      <a:pt x="566171" y="530225"/>
                      <a:pt x="566171" y="530225"/>
                    </a:cubicBezTo>
                    <a:cubicBezTo>
                      <a:pt x="575465" y="530225"/>
                      <a:pt x="582613" y="537634"/>
                      <a:pt x="582613" y="546524"/>
                    </a:cubicBezTo>
                    <a:cubicBezTo>
                      <a:pt x="582613" y="556155"/>
                      <a:pt x="575465" y="563563"/>
                      <a:pt x="566171" y="563563"/>
                    </a:cubicBezTo>
                    <a:cubicBezTo>
                      <a:pt x="16442" y="563563"/>
                      <a:pt x="16442" y="563563"/>
                      <a:pt x="16442" y="563563"/>
                    </a:cubicBezTo>
                    <a:cubicBezTo>
                      <a:pt x="7149" y="563563"/>
                      <a:pt x="0" y="556155"/>
                      <a:pt x="0" y="546524"/>
                    </a:cubicBezTo>
                    <a:cubicBezTo>
                      <a:pt x="0" y="537634"/>
                      <a:pt x="7149" y="530225"/>
                      <a:pt x="16442" y="530225"/>
                    </a:cubicBezTo>
                    <a:close/>
                    <a:moveTo>
                      <a:pt x="16442" y="398462"/>
                    </a:moveTo>
                    <a:cubicBezTo>
                      <a:pt x="566171" y="398462"/>
                      <a:pt x="566171" y="398462"/>
                      <a:pt x="566171" y="398462"/>
                    </a:cubicBezTo>
                    <a:cubicBezTo>
                      <a:pt x="575465" y="398462"/>
                      <a:pt x="582613" y="405555"/>
                      <a:pt x="582613" y="414776"/>
                    </a:cubicBezTo>
                    <a:cubicBezTo>
                      <a:pt x="582613" y="424707"/>
                      <a:pt x="575465" y="431800"/>
                      <a:pt x="566171" y="431800"/>
                    </a:cubicBezTo>
                    <a:cubicBezTo>
                      <a:pt x="16442" y="431800"/>
                      <a:pt x="16442" y="431800"/>
                      <a:pt x="16442" y="431800"/>
                    </a:cubicBezTo>
                    <a:cubicBezTo>
                      <a:pt x="7149" y="431800"/>
                      <a:pt x="0" y="424707"/>
                      <a:pt x="0" y="414776"/>
                    </a:cubicBezTo>
                    <a:cubicBezTo>
                      <a:pt x="0" y="405555"/>
                      <a:pt x="7149" y="398462"/>
                      <a:pt x="16442" y="398462"/>
                    </a:cubicBezTo>
                    <a:close/>
                    <a:moveTo>
                      <a:pt x="16442" y="265112"/>
                    </a:moveTo>
                    <a:cubicBezTo>
                      <a:pt x="566171" y="265112"/>
                      <a:pt x="566171" y="265112"/>
                      <a:pt x="566171" y="265112"/>
                    </a:cubicBezTo>
                    <a:cubicBezTo>
                      <a:pt x="575465" y="265112"/>
                      <a:pt x="582613" y="273286"/>
                      <a:pt x="582613" y="282946"/>
                    </a:cubicBezTo>
                    <a:cubicBezTo>
                      <a:pt x="582613" y="292606"/>
                      <a:pt x="575465" y="300037"/>
                      <a:pt x="566171" y="300037"/>
                    </a:cubicBezTo>
                    <a:cubicBezTo>
                      <a:pt x="16442" y="300037"/>
                      <a:pt x="16442" y="300037"/>
                      <a:pt x="16442" y="300037"/>
                    </a:cubicBezTo>
                    <a:cubicBezTo>
                      <a:pt x="7149" y="300037"/>
                      <a:pt x="0" y="292606"/>
                      <a:pt x="0" y="282946"/>
                    </a:cubicBezTo>
                    <a:cubicBezTo>
                      <a:pt x="0" y="273286"/>
                      <a:pt x="7149" y="265112"/>
                      <a:pt x="16442" y="265112"/>
                    </a:cubicBezTo>
                    <a:close/>
                    <a:moveTo>
                      <a:pt x="16442" y="133350"/>
                    </a:moveTo>
                    <a:cubicBezTo>
                      <a:pt x="566171" y="133350"/>
                      <a:pt x="566171" y="133350"/>
                      <a:pt x="566171" y="133350"/>
                    </a:cubicBezTo>
                    <a:cubicBezTo>
                      <a:pt x="575465" y="133350"/>
                      <a:pt x="582613" y="141152"/>
                      <a:pt x="582613" y="149664"/>
                    </a:cubicBezTo>
                    <a:cubicBezTo>
                      <a:pt x="582613" y="158885"/>
                      <a:pt x="575465" y="166688"/>
                      <a:pt x="566171" y="166688"/>
                    </a:cubicBezTo>
                    <a:cubicBezTo>
                      <a:pt x="16442" y="166688"/>
                      <a:pt x="16442" y="166688"/>
                      <a:pt x="16442" y="166688"/>
                    </a:cubicBezTo>
                    <a:cubicBezTo>
                      <a:pt x="7149" y="166688"/>
                      <a:pt x="0" y="158885"/>
                      <a:pt x="0" y="149664"/>
                    </a:cubicBezTo>
                    <a:cubicBezTo>
                      <a:pt x="0" y="141152"/>
                      <a:pt x="7149" y="133350"/>
                      <a:pt x="16442" y="133350"/>
                    </a:cubicBezTo>
                    <a:close/>
                    <a:moveTo>
                      <a:pt x="16442" y="0"/>
                    </a:moveTo>
                    <a:cubicBezTo>
                      <a:pt x="566171" y="0"/>
                      <a:pt x="566171" y="0"/>
                      <a:pt x="566171" y="0"/>
                    </a:cubicBezTo>
                    <a:cubicBezTo>
                      <a:pt x="575465" y="0"/>
                      <a:pt x="582613" y="7640"/>
                      <a:pt x="582613" y="16669"/>
                    </a:cubicBezTo>
                    <a:cubicBezTo>
                      <a:pt x="582613" y="26392"/>
                      <a:pt x="575465" y="33338"/>
                      <a:pt x="566171" y="33338"/>
                    </a:cubicBezTo>
                    <a:cubicBezTo>
                      <a:pt x="16442" y="33338"/>
                      <a:pt x="16442" y="33338"/>
                      <a:pt x="16442" y="33338"/>
                    </a:cubicBezTo>
                    <a:cubicBezTo>
                      <a:pt x="7149" y="33338"/>
                      <a:pt x="0" y="26392"/>
                      <a:pt x="0" y="16669"/>
                    </a:cubicBezTo>
                    <a:cubicBezTo>
                      <a:pt x="0" y="7640"/>
                      <a:pt x="7149" y="0"/>
                      <a:pt x="1644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5443803" y="2822733"/>
                <a:ext cx="1304394" cy="1211263"/>
              </a:xfrm>
              <a:custGeom>
                <a:avLst/>
                <a:gdLst>
                  <a:gd name="connsiteX0" fmla="*/ 170429 w 1304394"/>
                  <a:gd name="connsiteY0" fmla="*/ 1060450 h 1211263"/>
                  <a:gd name="connsiteX1" fmla="*/ 720158 w 1304394"/>
                  <a:gd name="connsiteY1" fmla="*/ 1060450 h 1211263"/>
                  <a:gd name="connsiteX2" fmla="*/ 736600 w 1304394"/>
                  <a:gd name="connsiteY2" fmla="*/ 1077490 h 1211263"/>
                  <a:gd name="connsiteX3" fmla="*/ 720158 w 1304394"/>
                  <a:gd name="connsiteY3" fmla="*/ 1093788 h 1211263"/>
                  <a:gd name="connsiteX4" fmla="*/ 170429 w 1304394"/>
                  <a:gd name="connsiteY4" fmla="*/ 1093788 h 1211263"/>
                  <a:gd name="connsiteX5" fmla="*/ 153987 w 1304394"/>
                  <a:gd name="connsiteY5" fmla="*/ 1077490 h 1211263"/>
                  <a:gd name="connsiteX6" fmla="*/ 170429 w 1304394"/>
                  <a:gd name="connsiteY6" fmla="*/ 1060450 h 1211263"/>
                  <a:gd name="connsiteX7" fmla="*/ 420158 w 1304394"/>
                  <a:gd name="connsiteY7" fmla="*/ 900113 h 1211263"/>
                  <a:gd name="connsiteX8" fmla="*/ 427278 w 1304394"/>
                  <a:gd name="connsiteY8" fmla="*/ 932046 h 1211263"/>
                  <a:gd name="connsiteX9" fmla="*/ 465015 w 1304394"/>
                  <a:gd name="connsiteY9" fmla="*/ 1014362 h 1211263"/>
                  <a:gd name="connsiteX10" fmla="*/ 477831 w 1304394"/>
                  <a:gd name="connsiteY10" fmla="*/ 998751 h 1211263"/>
                  <a:gd name="connsiteX11" fmla="*/ 495632 w 1304394"/>
                  <a:gd name="connsiteY11" fmla="*/ 978172 h 1211263"/>
                  <a:gd name="connsiteX12" fmla="*/ 496344 w 1304394"/>
                  <a:gd name="connsiteY12" fmla="*/ 976752 h 1211263"/>
                  <a:gd name="connsiteX13" fmla="*/ 497768 w 1304394"/>
                  <a:gd name="connsiteY13" fmla="*/ 975333 h 1211263"/>
                  <a:gd name="connsiteX14" fmla="*/ 511296 w 1304394"/>
                  <a:gd name="connsiteY14" fmla="*/ 966108 h 1211263"/>
                  <a:gd name="connsiteX15" fmla="*/ 512008 w 1304394"/>
                  <a:gd name="connsiteY15" fmla="*/ 965398 h 1211263"/>
                  <a:gd name="connsiteX16" fmla="*/ 513433 w 1304394"/>
                  <a:gd name="connsiteY16" fmla="*/ 965398 h 1211263"/>
                  <a:gd name="connsiteX17" fmla="*/ 546897 w 1304394"/>
                  <a:gd name="connsiteY17" fmla="*/ 976752 h 1211263"/>
                  <a:gd name="connsiteX18" fmla="*/ 551170 w 1304394"/>
                  <a:gd name="connsiteY18" fmla="*/ 980301 h 1211263"/>
                  <a:gd name="connsiteX19" fmla="*/ 598875 w 1304394"/>
                  <a:gd name="connsiteY19" fmla="*/ 965398 h 1211263"/>
                  <a:gd name="connsiteX20" fmla="*/ 603147 w 1304394"/>
                  <a:gd name="connsiteY20" fmla="*/ 961141 h 1211263"/>
                  <a:gd name="connsiteX21" fmla="*/ 676485 w 1304394"/>
                  <a:gd name="connsiteY21" fmla="*/ 927789 h 1211263"/>
                  <a:gd name="connsiteX22" fmla="*/ 690726 w 1304394"/>
                  <a:gd name="connsiteY22" fmla="*/ 946948 h 1211263"/>
                  <a:gd name="connsiteX23" fmla="*/ 671501 w 1304394"/>
                  <a:gd name="connsiteY23" fmla="*/ 961141 h 1211263"/>
                  <a:gd name="connsiteX24" fmla="*/ 625220 w 1304394"/>
                  <a:gd name="connsiteY24" fmla="*/ 985978 h 1211263"/>
                  <a:gd name="connsiteX25" fmla="*/ 620948 w 1304394"/>
                  <a:gd name="connsiteY25" fmla="*/ 990235 h 1211263"/>
                  <a:gd name="connsiteX26" fmla="*/ 531945 w 1304394"/>
                  <a:gd name="connsiteY26" fmla="*/ 1007976 h 1211263"/>
                  <a:gd name="connsiteX27" fmla="*/ 524825 w 1304394"/>
                  <a:gd name="connsiteY27" fmla="*/ 1002299 h 1211263"/>
                  <a:gd name="connsiteX28" fmla="*/ 521265 w 1304394"/>
                  <a:gd name="connsiteY28" fmla="*/ 999460 h 1211263"/>
                  <a:gd name="connsiteX29" fmla="*/ 520553 w 1304394"/>
                  <a:gd name="connsiteY29" fmla="*/ 1000170 h 1211263"/>
                  <a:gd name="connsiteX30" fmla="*/ 503464 w 1304394"/>
                  <a:gd name="connsiteY30" fmla="*/ 1020749 h 1211263"/>
                  <a:gd name="connsiteX31" fmla="*/ 487088 w 1304394"/>
                  <a:gd name="connsiteY31" fmla="*/ 1040618 h 1211263"/>
                  <a:gd name="connsiteX32" fmla="*/ 469287 w 1304394"/>
                  <a:gd name="connsiteY32" fmla="*/ 1051972 h 1211263"/>
                  <a:gd name="connsiteX33" fmla="*/ 467151 w 1304394"/>
                  <a:gd name="connsiteY33" fmla="*/ 1052682 h 1211263"/>
                  <a:gd name="connsiteX34" fmla="*/ 465727 w 1304394"/>
                  <a:gd name="connsiteY34" fmla="*/ 1052682 h 1211263"/>
                  <a:gd name="connsiteX35" fmla="*/ 444366 w 1304394"/>
                  <a:gd name="connsiteY35" fmla="*/ 1042038 h 1211263"/>
                  <a:gd name="connsiteX36" fmla="*/ 442230 w 1304394"/>
                  <a:gd name="connsiteY36" fmla="*/ 1039909 h 1211263"/>
                  <a:gd name="connsiteX37" fmla="*/ 441518 w 1304394"/>
                  <a:gd name="connsiteY37" fmla="*/ 1039199 h 1211263"/>
                  <a:gd name="connsiteX38" fmla="*/ 403069 w 1304394"/>
                  <a:gd name="connsiteY38" fmla="*/ 968237 h 1211263"/>
                  <a:gd name="connsiteX39" fmla="*/ 313355 w 1304394"/>
                  <a:gd name="connsiteY39" fmla="*/ 1048424 h 1211263"/>
                  <a:gd name="connsiteX40" fmla="*/ 289858 w 1304394"/>
                  <a:gd name="connsiteY40" fmla="*/ 1045586 h 1211263"/>
                  <a:gd name="connsiteX41" fmla="*/ 292706 w 1304394"/>
                  <a:gd name="connsiteY41" fmla="*/ 1021459 h 1211263"/>
                  <a:gd name="connsiteX42" fmla="*/ 398797 w 1304394"/>
                  <a:gd name="connsiteY42" fmla="*/ 924240 h 1211263"/>
                  <a:gd name="connsiteX43" fmla="*/ 420158 w 1304394"/>
                  <a:gd name="connsiteY43" fmla="*/ 900113 h 1211263"/>
                  <a:gd name="connsiteX44" fmla="*/ 817172 w 1304394"/>
                  <a:gd name="connsiteY44" fmla="*/ 759388 h 1211263"/>
                  <a:gd name="connsiteX45" fmla="*/ 807654 w 1304394"/>
                  <a:gd name="connsiteY45" fmla="*/ 768465 h 1211263"/>
                  <a:gd name="connsiteX46" fmla="*/ 771361 w 1304394"/>
                  <a:gd name="connsiteY46" fmla="*/ 873829 h 1211263"/>
                  <a:gd name="connsiteX47" fmla="*/ 776342 w 1304394"/>
                  <a:gd name="connsiteY47" fmla="*/ 890204 h 1211263"/>
                  <a:gd name="connsiteX48" fmla="*/ 793421 w 1304394"/>
                  <a:gd name="connsiteY48" fmla="*/ 890204 h 1211263"/>
                  <a:gd name="connsiteX49" fmla="*/ 885223 w 1304394"/>
                  <a:gd name="connsiteY49" fmla="*/ 828978 h 1211263"/>
                  <a:gd name="connsiteX50" fmla="*/ 885934 w 1304394"/>
                  <a:gd name="connsiteY50" fmla="*/ 805485 h 1211263"/>
                  <a:gd name="connsiteX51" fmla="*/ 830426 w 1304394"/>
                  <a:gd name="connsiteY51" fmla="*/ 762058 h 1211263"/>
                  <a:gd name="connsiteX52" fmla="*/ 817172 w 1304394"/>
                  <a:gd name="connsiteY52" fmla="*/ 759388 h 1211263"/>
                  <a:gd name="connsiteX53" fmla="*/ 1153708 w 1304394"/>
                  <a:gd name="connsiteY53" fmla="*/ 263525 h 1211263"/>
                  <a:gd name="connsiteX54" fmla="*/ 1154422 w 1304394"/>
                  <a:gd name="connsiteY54" fmla="*/ 263525 h 1211263"/>
                  <a:gd name="connsiteX55" fmla="*/ 1282861 w 1304394"/>
                  <a:gd name="connsiteY55" fmla="*/ 363479 h 1211263"/>
                  <a:gd name="connsiteX56" fmla="*/ 919663 w 1304394"/>
                  <a:gd name="connsiteY56" fmla="*/ 832548 h 1211263"/>
                  <a:gd name="connsiteX57" fmla="*/ 915381 w 1304394"/>
                  <a:gd name="connsiteY57" fmla="*/ 836832 h 1211263"/>
                  <a:gd name="connsiteX58" fmla="*/ 757686 w 1304394"/>
                  <a:gd name="connsiteY58" fmla="*/ 931788 h 1211263"/>
                  <a:gd name="connsiteX59" fmla="*/ 736993 w 1304394"/>
                  <a:gd name="connsiteY59" fmla="*/ 916081 h 1211263"/>
                  <a:gd name="connsiteX60" fmla="*/ 786228 w 1304394"/>
                  <a:gd name="connsiteY60" fmla="*/ 741162 h 1211263"/>
                  <a:gd name="connsiteX61" fmla="*/ 789082 w 1304394"/>
                  <a:gd name="connsiteY61" fmla="*/ 735450 h 1211263"/>
                  <a:gd name="connsiteX62" fmla="*/ 1153708 w 1304394"/>
                  <a:gd name="connsiteY62" fmla="*/ 263525 h 1211263"/>
                  <a:gd name="connsiteX63" fmla="*/ 1247671 w 1304394"/>
                  <a:gd name="connsiteY63" fmla="*/ 224408 h 1211263"/>
                  <a:gd name="connsiteX64" fmla="*/ 1301391 w 1304394"/>
                  <a:gd name="connsiteY64" fmla="*/ 265410 h 1211263"/>
                  <a:gd name="connsiteX65" fmla="*/ 1303512 w 1304394"/>
                  <a:gd name="connsiteY65" fmla="*/ 274042 h 1211263"/>
                  <a:gd name="connsiteX66" fmla="*/ 1271703 w 1304394"/>
                  <a:gd name="connsiteY66" fmla="*/ 314325 h 1211263"/>
                  <a:gd name="connsiteX67" fmla="*/ 1208087 w 1304394"/>
                  <a:gd name="connsiteY67" fmla="*/ 265410 h 1211263"/>
                  <a:gd name="connsiteX68" fmla="*/ 1239189 w 1304394"/>
                  <a:gd name="connsiteY68" fmla="*/ 225127 h 1211263"/>
                  <a:gd name="connsiteX69" fmla="*/ 1247671 w 1304394"/>
                  <a:gd name="connsiteY69" fmla="*/ 224408 h 1211263"/>
                  <a:gd name="connsiteX70" fmla="*/ 32852 w 1304394"/>
                  <a:gd name="connsiteY70" fmla="*/ 0 h 1211263"/>
                  <a:gd name="connsiteX71" fmla="*/ 857736 w 1304394"/>
                  <a:gd name="connsiteY71" fmla="*/ 0 h 1211263"/>
                  <a:gd name="connsiteX72" fmla="*/ 890588 w 1304394"/>
                  <a:gd name="connsiteY72" fmla="*/ 32814 h 1211263"/>
                  <a:gd name="connsiteX73" fmla="*/ 890588 w 1304394"/>
                  <a:gd name="connsiteY73" fmla="*/ 552131 h 1211263"/>
                  <a:gd name="connsiteX74" fmla="*/ 857736 w 1304394"/>
                  <a:gd name="connsiteY74" fmla="*/ 594931 h 1211263"/>
                  <a:gd name="connsiteX75" fmla="*/ 857736 w 1304394"/>
                  <a:gd name="connsiteY75" fmla="*/ 32814 h 1211263"/>
                  <a:gd name="connsiteX76" fmla="*/ 32852 w 1304394"/>
                  <a:gd name="connsiteY76" fmla="*/ 32814 h 1211263"/>
                  <a:gd name="connsiteX77" fmla="*/ 32852 w 1304394"/>
                  <a:gd name="connsiteY77" fmla="*/ 1178449 h 1211263"/>
                  <a:gd name="connsiteX78" fmla="*/ 857736 w 1304394"/>
                  <a:gd name="connsiteY78" fmla="*/ 1178449 h 1211263"/>
                  <a:gd name="connsiteX79" fmla="*/ 857736 w 1304394"/>
                  <a:gd name="connsiteY79" fmla="*/ 919504 h 1211263"/>
                  <a:gd name="connsiteX80" fmla="*/ 890588 w 1304394"/>
                  <a:gd name="connsiteY80" fmla="*/ 898104 h 1211263"/>
                  <a:gd name="connsiteX81" fmla="*/ 890588 w 1304394"/>
                  <a:gd name="connsiteY81" fmla="*/ 1178449 h 1211263"/>
                  <a:gd name="connsiteX82" fmla="*/ 857736 w 1304394"/>
                  <a:gd name="connsiteY82" fmla="*/ 1211263 h 1211263"/>
                  <a:gd name="connsiteX83" fmla="*/ 32852 w 1304394"/>
                  <a:gd name="connsiteY83" fmla="*/ 1211263 h 1211263"/>
                  <a:gd name="connsiteX84" fmla="*/ 0 w 1304394"/>
                  <a:gd name="connsiteY84" fmla="*/ 1178449 h 1211263"/>
                  <a:gd name="connsiteX85" fmla="*/ 0 w 1304394"/>
                  <a:gd name="connsiteY85" fmla="*/ 32814 h 1211263"/>
                  <a:gd name="connsiteX86" fmla="*/ 32852 w 1304394"/>
                  <a:gd name="connsiteY86" fmla="*/ 0 h 1211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304394" h="1211263">
                    <a:moveTo>
                      <a:pt x="170429" y="1060450"/>
                    </a:moveTo>
                    <a:cubicBezTo>
                      <a:pt x="720158" y="1060450"/>
                      <a:pt x="720158" y="1060450"/>
                      <a:pt x="720158" y="1060450"/>
                    </a:cubicBezTo>
                    <a:cubicBezTo>
                      <a:pt x="729451" y="1060450"/>
                      <a:pt x="736600" y="1067859"/>
                      <a:pt x="736600" y="1077490"/>
                    </a:cubicBezTo>
                    <a:cubicBezTo>
                      <a:pt x="736600" y="1086380"/>
                      <a:pt x="729451" y="1093788"/>
                      <a:pt x="720158" y="1093788"/>
                    </a:cubicBezTo>
                    <a:cubicBezTo>
                      <a:pt x="170429" y="1093788"/>
                      <a:pt x="170429" y="1093788"/>
                      <a:pt x="170429" y="1093788"/>
                    </a:cubicBezTo>
                    <a:cubicBezTo>
                      <a:pt x="161135" y="1093788"/>
                      <a:pt x="153987" y="1086380"/>
                      <a:pt x="153987" y="1077490"/>
                    </a:cubicBezTo>
                    <a:cubicBezTo>
                      <a:pt x="153987" y="1067859"/>
                      <a:pt x="161135" y="1060450"/>
                      <a:pt x="170429" y="1060450"/>
                    </a:cubicBezTo>
                    <a:close/>
                    <a:moveTo>
                      <a:pt x="420158" y="900113"/>
                    </a:moveTo>
                    <a:cubicBezTo>
                      <a:pt x="427278" y="932046"/>
                      <a:pt x="427278" y="932046"/>
                      <a:pt x="427278" y="932046"/>
                    </a:cubicBezTo>
                    <a:cubicBezTo>
                      <a:pt x="433686" y="959722"/>
                      <a:pt x="446503" y="988106"/>
                      <a:pt x="465015" y="1014362"/>
                    </a:cubicBezTo>
                    <a:cubicBezTo>
                      <a:pt x="469287" y="1009395"/>
                      <a:pt x="473559" y="1004428"/>
                      <a:pt x="477831" y="998751"/>
                    </a:cubicBezTo>
                    <a:cubicBezTo>
                      <a:pt x="484240" y="991654"/>
                      <a:pt x="489936" y="985268"/>
                      <a:pt x="495632" y="978172"/>
                    </a:cubicBezTo>
                    <a:cubicBezTo>
                      <a:pt x="496344" y="976752"/>
                      <a:pt x="496344" y="976752"/>
                      <a:pt x="496344" y="976752"/>
                    </a:cubicBezTo>
                    <a:cubicBezTo>
                      <a:pt x="497056" y="976752"/>
                      <a:pt x="497768" y="976043"/>
                      <a:pt x="497768" y="975333"/>
                    </a:cubicBezTo>
                    <a:cubicBezTo>
                      <a:pt x="500616" y="972495"/>
                      <a:pt x="504888" y="968237"/>
                      <a:pt x="511296" y="966108"/>
                    </a:cubicBezTo>
                    <a:cubicBezTo>
                      <a:pt x="512008" y="965398"/>
                      <a:pt x="512008" y="965398"/>
                      <a:pt x="512008" y="965398"/>
                    </a:cubicBezTo>
                    <a:cubicBezTo>
                      <a:pt x="513433" y="965398"/>
                      <a:pt x="513433" y="965398"/>
                      <a:pt x="513433" y="965398"/>
                    </a:cubicBezTo>
                    <a:cubicBezTo>
                      <a:pt x="528385" y="961850"/>
                      <a:pt x="539777" y="971075"/>
                      <a:pt x="546897" y="976752"/>
                    </a:cubicBezTo>
                    <a:cubicBezTo>
                      <a:pt x="548322" y="978172"/>
                      <a:pt x="549746" y="979591"/>
                      <a:pt x="551170" y="980301"/>
                    </a:cubicBezTo>
                    <a:cubicBezTo>
                      <a:pt x="563274" y="988816"/>
                      <a:pt x="584635" y="977462"/>
                      <a:pt x="598875" y="965398"/>
                    </a:cubicBezTo>
                    <a:cubicBezTo>
                      <a:pt x="600299" y="963979"/>
                      <a:pt x="601723" y="962560"/>
                      <a:pt x="603147" y="961141"/>
                    </a:cubicBezTo>
                    <a:cubicBezTo>
                      <a:pt x="622372" y="944110"/>
                      <a:pt x="645868" y="922821"/>
                      <a:pt x="676485" y="927789"/>
                    </a:cubicBezTo>
                    <a:cubicBezTo>
                      <a:pt x="685742" y="929208"/>
                      <a:pt x="692150" y="937723"/>
                      <a:pt x="690726" y="946948"/>
                    </a:cubicBezTo>
                    <a:cubicBezTo>
                      <a:pt x="689302" y="956173"/>
                      <a:pt x="680757" y="962560"/>
                      <a:pt x="671501" y="961141"/>
                    </a:cubicBezTo>
                    <a:cubicBezTo>
                      <a:pt x="656549" y="958302"/>
                      <a:pt x="640884" y="972495"/>
                      <a:pt x="625220" y="985978"/>
                    </a:cubicBezTo>
                    <a:cubicBezTo>
                      <a:pt x="623796" y="987397"/>
                      <a:pt x="622372" y="988816"/>
                      <a:pt x="620948" y="990235"/>
                    </a:cubicBezTo>
                    <a:cubicBezTo>
                      <a:pt x="588907" y="1017911"/>
                      <a:pt x="555442" y="1025007"/>
                      <a:pt x="531945" y="1007976"/>
                    </a:cubicBezTo>
                    <a:cubicBezTo>
                      <a:pt x="529097" y="1005847"/>
                      <a:pt x="526961" y="1004428"/>
                      <a:pt x="524825" y="1002299"/>
                    </a:cubicBezTo>
                    <a:cubicBezTo>
                      <a:pt x="524113" y="1001589"/>
                      <a:pt x="522689" y="1000170"/>
                      <a:pt x="521265" y="999460"/>
                    </a:cubicBezTo>
                    <a:cubicBezTo>
                      <a:pt x="521265" y="999460"/>
                      <a:pt x="521265" y="1000170"/>
                      <a:pt x="520553" y="1000170"/>
                    </a:cubicBezTo>
                    <a:cubicBezTo>
                      <a:pt x="515569" y="1006557"/>
                      <a:pt x="509872" y="1013653"/>
                      <a:pt x="503464" y="1020749"/>
                    </a:cubicBezTo>
                    <a:cubicBezTo>
                      <a:pt x="498480" y="1027136"/>
                      <a:pt x="492784" y="1033522"/>
                      <a:pt x="487088" y="1040618"/>
                    </a:cubicBezTo>
                    <a:cubicBezTo>
                      <a:pt x="484952" y="1043457"/>
                      <a:pt x="479255" y="1049844"/>
                      <a:pt x="469287" y="1051972"/>
                    </a:cubicBezTo>
                    <a:lnTo>
                      <a:pt x="467151" y="1052682"/>
                    </a:lnTo>
                    <a:cubicBezTo>
                      <a:pt x="465727" y="1052682"/>
                      <a:pt x="465727" y="1052682"/>
                      <a:pt x="465727" y="1052682"/>
                    </a:cubicBezTo>
                    <a:cubicBezTo>
                      <a:pt x="454335" y="1052682"/>
                      <a:pt x="447927" y="1045586"/>
                      <a:pt x="444366" y="1042038"/>
                    </a:cubicBezTo>
                    <a:cubicBezTo>
                      <a:pt x="442230" y="1039909"/>
                      <a:pt x="442230" y="1039909"/>
                      <a:pt x="442230" y="1039909"/>
                    </a:cubicBezTo>
                    <a:cubicBezTo>
                      <a:pt x="441518" y="1039199"/>
                      <a:pt x="441518" y="1039199"/>
                      <a:pt x="441518" y="1039199"/>
                    </a:cubicBezTo>
                    <a:cubicBezTo>
                      <a:pt x="425142" y="1016491"/>
                      <a:pt x="412326" y="992364"/>
                      <a:pt x="403069" y="968237"/>
                    </a:cubicBezTo>
                    <a:cubicBezTo>
                      <a:pt x="374588" y="997331"/>
                      <a:pt x="344684" y="1024297"/>
                      <a:pt x="313355" y="1048424"/>
                    </a:cubicBezTo>
                    <a:cubicBezTo>
                      <a:pt x="305522" y="1054101"/>
                      <a:pt x="295554" y="1052682"/>
                      <a:pt x="289858" y="1045586"/>
                    </a:cubicBezTo>
                    <a:cubicBezTo>
                      <a:pt x="284162" y="1037780"/>
                      <a:pt x="285586" y="1027136"/>
                      <a:pt x="292706" y="1021459"/>
                    </a:cubicBezTo>
                    <a:cubicBezTo>
                      <a:pt x="329731" y="993074"/>
                      <a:pt x="365332" y="960431"/>
                      <a:pt x="398797" y="924240"/>
                    </a:cubicBezTo>
                    <a:cubicBezTo>
                      <a:pt x="420158" y="900113"/>
                      <a:pt x="420158" y="900113"/>
                      <a:pt x="420158" y="900113"/>
                    </a:cubicBezTo>
                    <a:close/>
                    <a:moveTo>
                      <a:pt x="817172" y="759388"/>
                    </a:moveTo>
                    <a:cubicBezTo>
                      <a:pt x="812814" y="760634"/>
                      <a:pt x="809078" y="763837"/>
                      <a:pt x="807654" y="768465"/>
                    </a:cubicBezTo>
                    <a:cubicBezTo>
                      <a:pt x="807654" y="768465"/>
                      <a:pt x="807654" y="768465"/>
                      <a:pt x="771361" y="873829"/>
                    </a:cubicBezTo>
                    <a:cubicBezTo>
                      <a:pt x="769937" y="879525"/>
                      <a:pt x="771361" y="885932"/>
                      <a:pt x="776342" y="890204"/>
                    </a:cubicBezTo>
                    <a:cubicBezTo>
                      <a:pt x="781323" y="893763"/>
                      <a:pt x="788440" y="893763"/>
                      <a:pt x="793421" y="890204"/>
                    </a:cubicBezTo>
                    <a:cubicBezTo>
                      <a:pt x="793421" y="890204"/>
                      <a:pt x="793421" y="890204"/>
                      <a:pt x="885223" y="828978"/>
                    </a:cubicBezTo>
                    <a:cubicBezTo>
                      <a:pt x="893051" y="823283"/>
                      <a:pt x="893762" y="811180"/>
                      <a:pt x="885934" y="805485"/>
                    </a:cubicBezTo>
                    <a:cubicBezTo>
                      <a:pt x="885934" y="805485"/>
                      <a:pt x="885934" y="805485"/>
                      <a:pt x="830426" y="762058"/>
                    </a:cubicBezTo>
                    <a:cubicBezTo>
                      <a:pt x="826512" y="758854"/>
                      <a:pt x="821531" y="758142"/>
                      <a:pt x="817172" y="759388"/>
                    </a:cubicBezTo>
                    <a:close/>
                    <a:moveTo>
                      <a:pt x="1153708" y="263525"/>
                    </a:moveTo>
                    <a:cubicBezTo>
                      <a:pt x="1153708" y="263525"/>
                      <a:pt x="1153708" y="263525"/>
                      <a:pt x="1154422" y="263525"/>
                    </a:cubicBezTo>
                    <a:cubicBezTo>
                      <a:pt x="1154422" y="263525"/>
                      <a:pt x="1263595" y="347772"/>
                      <a:pt x="1282861" y="363479"/>
                    </a:cubicBezTo>
                    <a:cubicBezTo>
                      <a:pt x="1282861" y="363479"/>
                      <a:pt x="1282861" y="363479"/>
                      <a:pt x="919663" y="832548"/>
                    </a:cubicBezTo>
                    <a:cubicBezTo>
                      <a:pt x="918949" y="833976"/>
                      <a:pt x="917522" y="835404"/>
                      <a:pt x="915381" y="836832"/>
                    </a:cubicBezTo>
                    <a:cubicBezTo>
                      <a:pt x="915381" y="836832"/>
                      <a:pt x="915381" y="836832"/>
                      <a:pt x="757686" y="931788"/>
                    </a:cubicBezTo>
                    <a:cubicBezTo>
                      <a:pt x="746983" y="938213"/>
                      <a:pt x="733425" y="928218"/>
                      <a:pt x="736993" y="916081"/>
                    </a:cubicBezTo>
                    <a:cubicBezTo>
                      <a:pt x="736993" y="916081"/>
                      <a:pt x="736993" y="916081"/>
                      <a:pt x="786228" y="741162"/>
                    </a:cubicBezTo>
                    <a:cubicBezTo>
                      <a:pt x="786942" y="739020"/>
                      <a:pt x="787655" y="737592"/>
                      <a:pt x="789082" y="735450"/>
                    </a:cubicBezTo>
                    <a:cubicBezTo>
                      <a:pt x="789082" y="735450"/>
                      <a:pt x="789082" y="735450"/>
                      <a:pt x="1153708" y="263525"/>
                    </a:cubicBezTo>
                    <a:close/>
                    <a:moveTo>
                      <a:pt x="1247671" y="224408"/>
                    </a:moveTo>
                    <a:cubicBezTo>
                      <a:pt x="1247671" y="224408"/>
                      <a:pt x="1247671" y="224408"/>
                      <a:pt x="1301391" y="265410"/>
                    </a:cubicBezTo>
                    <a:cubicBezTo>
                      <a:pt x="1304925" y="267568"/>
                      <a:pt x="1304925" y="271165"/>
                      <a:pt x="1303512" y="274042"/>
                    </a:cubicBezTo>
                    <a:cubicBezTo>
                      <a:pt x="1303512" y="274042"/>
                      <a:pt x="1303512" y="274042"/>
                      <a:pt x="1271703" y="314325"/>
                    </a:cubicBezTo>
                    <a:cubicBezTo>
                      <a:pt x="1271703" y="314325"/>
                      <a:pt x="1271703" y="314325"/>
                      <a:pt x="1208087" y="265410"/>
                    </a:cubicBezTo>
                    <a:cubicBezTo>
                      <a:pt x="1208087" y="265410"/>
                      <a:pt x="1208087" y="265410"/>
                      <a:pt x="1239189" y="225127"/>
                    </a:cubicBezTo>
                    <a:cubicBezTo>
                      <a:pt x="1240602" y="222250"/>
                      <a:pt x="1245550" y="222250"/>
                      <a:pt x="1247671" y="224408"/>
                    </a:cubicBezTo>
                    <a:close/>
                    <a:moveTo>
                      <a:pt x="32852" y="0"/>
                    </a:moveTo>
                    <a:cubicBezTo>
                      <a:pt x="32852" y="0"/>
                      <a:pt x="32852" y="0"/>
                      <a:pt x="857736" y="0"/>
                    </a:cubicBezTo>
                    <a:cubicBezTo>
                      <a:pt x="875590" y="0"/>
                      <a:pt x="890588" y="14980"/>
                      <a:pt x="890588" y="32814"/>
                    </a:cubicBezTo>
                    <a:cubicBezTo>
                      <a:pt x="890588" y="32814"/>
                      <a:pt x="890588" y="32814"/>
                      <a:pt x="890588" y="552131"/>
                    </a:cubicBezTo>
                    <a:cubicBezTo>
                      <a:pt x="890588" y="552131"/>
                      <a:pt x="890588" y="552131"/>
                      <a:pt x="857736" y="594931"/>
                    </a:cubicBezTo>
                    <a:cubicBezTo>
                      <a:pt x="857736" y="594931"/>
                      <a:pt x="857736" y="594931"/>
                      <a:pt x="857736" y="32814"/>
                    </a:cubicBezTo>
                    <a:cubicBezTo>
                      <a:pt x="857736" y="32814"/>
                      <a:pt x="857736" y="32814"/>
                      <a:pt x="32852" y="32814"/>
                    </a:cubicBezTo>
                    <a:cubicBezTo>
                      <a:pt x="32852" y="32814"/>
                      <a:pt x="32852" y="32814"/>
                      <a:pt x="32852" y="1178449"/>
                    </a:cubicBezTo>
                    <a:cubicBezTo>
                      <a:pt x="32852" y="1178449"/>
                      <a:pt x="32852" y="1178449"/>
                      <a:pt x="857736" y="1178449"/>
                    </a:cubicBezTo>
                    <a:cubicBezTo>
                      <a:pt x="857736" y="1178449"/>
                      <a:pt x="857736" y="1178449"/>
                      <a:pt x="857736" y="919504"/>
                    </a:cubicBezTo>
                    <a:cubicBezTo>
                      <a:pt x="857736" y="919504"/>
                      <a:pt x="857736" y="919504"/>
                      <a:pt x="890588" y="898104"/>
                    </a:cubicBezTo>
                    <a:cubicBezTo>
                      <a:pt x="890588" y="898104"/>
                      <a:pt x="890588" y="898104"/>
                      <a:pt x="890588" y="1178449"/>
                    </a:cubicBezTo>
                    <a:cubicBezTo>
                      <a:pt x="890588" y="1196283"/>
                      <a:pt x="875590" y="1211263"/>
                      <a:pt x="857736" y="1211263"/>
                    </a:cubicBezTo>
                    <a:cubicBezTo>
                      <a:pt x="857736" y="1211263"/>
                      <a:pt x="857736" y="1211263"/>
                      <a:pt x="32852" y="1211263"/>
                    </a:cubicBezTo>
                    <a:cubicBezTo>
                      <a:pt x="14998" y="1211263"/>
                      <a:pt x="0" y="1196283"/>
                      <a:pt x="0" y="1178449"/>
                    </a:cubicBezTo>
                    <a:cubicBezTo>
                      <a:pt x="0" y="1178449"/>
                      <a:pt x="0" y="1178449"/>
                      <a:pt x="0" y="32814"/>
                    </a:cubicBezTo>
                    <a:cubicBezTo>
                      <a:pt x="0" y="14980"/>
                      <a:pt x="14998" y="0"/>
                      <a:pt x="3285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8651796" y="1791112"/>
            <a:ext cx="521424" cy="521908"/>
            <a:chOff x="5273801" y="2606040"/>
            <a:chExt cx="1644396" cy="1645920"/>
          </a:xfrm>
        </p:grpSpPr>
        <p:sp>
          <p:nvSpPr>
            <p:cNvPr id="62" name="AutoShape 18">
              <a:extLst>
                <a:ext uri="{FF2B5EF4-FFF2-40B4-BE49-F238E27FC236}">
                  <a16:creationId xmlns:a16="http://schemas.microsoft.com/office/drawing/2014/main" id="{5381C2E6-C0A5-47CA-9FE1-1E79D784DA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5470016" y="2869692"/>
              <a:ext cx="1346835" cy="1297305"/>
              <a:chOff x="5470016" y="2869692"/>
              <a:chExt cx="1346835" cy="1297305"/>
            </a:xfrm>
          </p:grpSpPr>
          <p:sp>
            <p:nvSpPr>
              <p:cNvPr id="64" name="Freeform 20">
                <a:extLst>
                  <a:ext uri="{FF2B5EF4-FFF2-40B4-BE49-F238E27FC236}">
                    <a16:creationId xmlns:a16="http://schemas.microsoft.com/office/drawing/2014/main" id="{BDC0EBF9-E3A7-42FA-B170-D0CF0542B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881" y="3050286"/>
                <a:ext cx="1049274" cy="724281"/>
              </a:xfrm>
              <a:custGeom>
                <a:avLst/>
                <a:gdLst>
                  <a:gd name="T0" fmla="*/ 1470 w 1470"/>
                  <a:gd name="T1" fmla="*/ 0 h 1014"/>
                  <a:gd name="T2" fmla="*/ 1470 w 1470"/>
                  <a:gd name="T3" fmla="*/ 867 h 1014"/>
                  <a:gd name="T4" fmla="*/ 1383 w 1470"/>
                  <a:gd name="T5" fmla="*/ 867 h 1014"/>
                  <a:gd name="T6" fmla="*/ 1285 w 1470"/>
                  <a:gd name="T7" fmla="*/ 359 h 1014"/>
                  <a:gd name="T8" fmla="*/ 1147 w 1470"/>
                  <a:gd name="T9" fmla="*/ 260 h 1014"/>
                  <a:gd name="T10" fmla="*/ 1237 w 1470"/>
                  <a:gd name="T11" fmla="*/ 188 h 1014"/>
                  <a:gd name="T12" fmla="*/ 1283 w 1470"/>
                  <a:gd name="T13" fmla="*/ 196 h 1014"/>
                  <a:gd name="T14" fmla="*/ 1412 w 1470"/>
                  <a:gd name="T15" fmla="*/ 67 h 1014"/>
                  <a:gd name="T16" fmla="*/ 1410 w 1470"/>
                  <a:gd name="T17" fmla="*/ 48 h 1014"/>
                  <a:gd name="T18" fmla="*/ 1470 w 1470"/>
                  <a:gd name="T19" fmla="*/ 0 h 1014"/>
                  <a:gd name="T20" fmla="*/ 614 w 1470"/>
                  <a:gd name="T21" fmla="*/ 346 h 1014"/>
                  <a:gd name="T22" fmla="*/ 641 w 1470"/>
                  <a:gd name="T23" fmla="*/ 322 h 1014"/>
                  <a:gd name="T24" fmla="*/ 614 w 1470"/>
                  <a:gd name="T25" fmla="*/ 325 h 1014"/>
                  <a:gd name="T26" fmla="*/ 588 w 1470"/>
                  <a:gd name="T27" fmla="*/ 322 h 1014"/>
                  <a:gd name="T28" fmla="*/ 476 w 1470"/>
                  <a:gd name="T29" fmla="*/ 446 h 1014"/>
                  <a:gd name="T30" fmla="*/ 481 w 1470"/>
                  <a:gd name="T31" fmla="*/ 484 h 1014"/>
                  <a:gd name="T32" fmla="*/ 352 w 1470"/>
                  <a:gd name="T33" fmla="*/ 613 h 1014"/>
                  <a:gd name="T34" fmla="*/ 280 w 1470"/>
                  <a:gd name="T35" fmla="*/ 590 h 1014"/>
                  <a:gd name="T36" fmla="*/ 0 w 1470"/>
                  <a:gd name="T37" fmla="*/ 720 h 1014"/>
                  <a:gd name="T38" fmla="*/ 0 w 1470"/>
                  <a:gd name="T39" fmla="*/ 867 h 1014"/>
                  <a:gd name="T40" fmla="*/ 503 w 1470"/>
                  <a:gd name="T41" fmla="*/ 867 h 1014"/>
                  <a:gd name="T42" fmla="*/ 614 w 1470"/>
                  <a:gd name="T43" fmla="*/ 346 h 1014"/>
                  <a:gd name="T44" fmla="*/ 705 w 1470"/>
                  <a:gd name="T45" fmla="*/ 913 h 1014"/>
                  <a:gd name="T46" fmla="*/ 943 w 1470"/>
                  <a:gd name="T47" fmla="*/ 1014 h 1014"/>
                  <a:gd name="T48" fmla="*/ 1144 w 1470"/>
                  <a:gd name="T49" fmla="*/ 946 h 1014"/>
                  <a:gd name="T50" fmla="*/ 1145 w 1470"/>
                  <a:gd name="T51" fmla="*/ 945 h 1014"/>
                  <a:gd name="T52" fmla="*/ 1171 w 1470"/>
                  <a:gd name="T53" fmla="*/ 922 h 1014"/>
                  <a:gd name="T54" fmla="*/ 1199 w 1470"/>
                  <a:gd name="T55" fmla="*/ 892 h 1014"/>
                  <a:gd name="T56" fmla="*/ 1202 w 1470"/>
                  <a:gd name="T57" fmla="*/ 481 h 1014"/>
                  <a:gd name="T58" fmla="*/ 1103 w 1470"/>
                  <a:gd name="T59" fmla="*/ 560 h 1014"/>
                  <a:gd name="T60" fmla="*/ 1106 w 1470"/>
                  <a:gd name="T61" fmla="*/ 590 h 1014"/>
                  <a:gd name="T62" fmla="*/ 947 w 1470"/>
                  <a:gd name="T63" fmla="*/ 749 h 1014"/>
                  <a:gd name="T64" fmla="*/ 789 w 1470"/>
                  <a:gd name="T65" fmla="*/ 595 h 1014"/>
                  <a:gd name="T66" fmla="*/ 652 w 1470"/>
                  <a:gd name="T67" fmla="*/ 529 h 1014"/>
                  <a:gd name="T68" fmla="*/ 705 w 1470"/>
                  <a:gd name="T69" fmla="*/ 913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0" h="1014">
                    <a:moveTo>
                      <a:pt x="1470" y="0"/>
                    </a:moveTo>
                    <a:cubicBezTo>
                      <a:pt x="1470" y="867"/>
                      <a:pt x="1470" y="867"/>
                      <a:pt x="1470" y="867"/>
                    </a:cubicBezTo>
                    <a:cubicBezTo>
                      <a:pt x="1383" y="867"/>
                      <a:pt x="1383" y="867"/>
                      <a:pt x="1383" y="867"/>
                    </a:cubicBezTo>
                    <a:cubicBezTo>
                      <a:pt x="1452" y="697"/>
                      <a:pt x="1417" y="497"/>
                      <a:pt x="1285" y="359"/>
                    </a:cubicBezTo>
                    <a:cubicBezTo>
                      <a:pt x="1245" y="317"/>
                      <a:pt x="1198" y="284"/>
                      <a:pt x="1147" y="260"/>
                    </a:cubicBezTo>
                    <a:cubicBezTo>
                      <a:pt x="1237" y="188"/>
                      <a:pt x="1237" y="188"/>
                      <a:pt x="1237" y="188"/>
                    </a:cubicBezTo>
                    <a:cubicBezTo>
                      <a:pt x="1252" y="193"/>
                      <a:pt x="1267" y="196"/>
                      <a:pt x="1283" y="196"/>
                    </a:cubicBezTo>
                    <a:cubicBezTo>
                      <a:pt x="1354" y="196"/>
                      <a:pt x="1412" y="138"/>
                      <a:pt x="1412" y="67"/>
                    </a:cubicBezTo>
                    <a:cubicBezTo>
                      <a:pt x="1412" y="61"/>
                      <a:pt x="1411" y="54"/>
                      <a:pt x="1410" y="48"/>
                    </a:cubicBezTo>
                    <a:lnTo>
                      <a:pt x="1470" y="0"/>
                    </a:lnTo>
                    <a:close/>
                    <a:moveTo>
                      <a:pt x="614" y="346"/>
                    </a:moveTo>
                    <a:cubicBezTo>
                      <a:pt x="623" y="338"/>
                      <a:pt x="632" y="329"/>
                      <a:pt x="641" y="322"/>
                    </a:cubicBezTo>
                    <a:cubicBezTo>
                      <a:pt x="632" y="324"/>
                      <a:pt x="623" y="325"/>
                      <a:pt x="614" y="325"/>
                    </a:cubicBezTo>
                    <a:cubicBezTo>
                      <a:pt x="605" y="325"/>
                      <a:pt x="597" y="324"/>
                      <a:pt x="588" y="322"/>
                    </a:cubicBezTo>
                    <a:cubicBezTo>
                      <a:pt x="476" y="446"/>
                      <a:pt x="476" y="446"/>
                      <a:pt x="476" y="446"/>
                    </a:cubicBezTo>
                    <a:cubicBezTo>
                      <a:pt x="479" y="458"/>
                      <a:pt x="481" y="471"/>
                      <a:pt x="481" y="484"/>
                    </a:cubicBezTo>
                    <a:cubicBezTo>
                      <a:pt x="481" y="555"/>
                      <a:pt x="423" y="613"/>
                      <a:pt x="352" y="613"/>
                    </a:cubicBezTo>
                    <a:cubicBezTo>
                      <a:pt x="326" y="613"/>
                      <a:pt x="301" y="605"/>
                      <a:pt x="280" y="590"/>
                    </a:cubicBezTo>
                    <a:cubicBezTo>
                      <a:pt x="0" y="720"/>
                      <a:pt x="0" y="720"/>
                      <a:pt x="0" y="720"/>
                    </a:cubicBezTo>
                    <a:cubicBezTo>
                      <a:pt x="0" y="867"/>
                      <a:pt x="0" y="867"/>
                      <a:pt x="0" y="867"/>
                    </a:cubicBezTo>
                    <a:cubicBezTo>
                      <a:pt x="503" y="867"/>
                      <a:pt x="503" y="867"/>
                      <a:pt x="503" y="867"/>
                    </a:cubicBezTo>
                    <a:cubicBezTo>
                      <a:pt x="433" y="692"/>
                      <a:pt x="471" y="484"/>
                      <a:pt x="614" y="346"/>
                    </a:cubicBezTo>
                    <a:close/>
                    <a:moveTo>
                      <a:pt x="705" y="913"/>
                    </a:moveTo>
                    <a:cubicBezTo>
                      <a:pt x="768" y="978"/>
                      <a:pt x="852" y="1014"/>
                      <a:pt x="943" y="1014"/>
                    </a:cubicBezTo>
                    <a:cubicBezTo>
                      <a:pt x="1015" y="1014"/>
                      <a:pt x="1087" y="990"/>
                      <a:pt x="1144" y="946"/>
                    </a:cubicBezTo>
                    <a:cubicBezTo>
                      <a:pt x="1145" y="945"/>
                      <a:pt x="1145" y="945"/>
                      <a:pt x="1145" y="945"/>
                    </a:cubicBezTo>
                    <a:cubicBezTo>
                      <a:pt x="1153" y="940"/>
                      <a:pt x="1161" y="932"/>
                      <a:pt x="1171" y="922"/>
                    </a:cubicBezTo>
                    <a:cubicBezTo>
                      <a:pt x="1181" y="913"/>
                      <a:pt x="1191" y="903"/>
                      <a:pt x="1199" y="892"/>
                    </a:cubicBezTo>
                    <a:cubicBezTo>
                      <a:pt x="1297" y="772"/>
                      <a:pt x="1296" y="601"/>
                      <a:pt x="1202" y="481"/>
                    </a:cubicBezTo>
                    <a:cubicBezTo>
                      <a:pt x="1103" y="560"/>
                      <a:pt x="1103" y="560"/>
                      <a:pt x="1103" y="560"/>
                    </a:cubicBezTo>
                    <a:cubicBezTo>
                      <a:pt x="1105" y="570"/>
                      <a:pt x="1106" y="580"/>
                      <a:pt x="1106" y="590"/>
                    </a:cubicBezTo>
                    <a:cubicBezTo>
                      <a:pt x="1106" y="677"/>
                      <a:pt x="1035" y="749"/>
                      <a:pt x="947" y="749"/>
                    </a:cubicBezTo>
                    <a:cubicBezTo>
                      <a:pt x="862" y="749"/>
                      <a:pt x="792" y="680"/>
                      <a:pt x="789" y="595"/>
                    </a:cubicBezTo>
                    <a:cubicBezTo>
                      <a:pt x="652" y="529"/>
                      <a:pt x="652" y="529"/>
                      <a:pt x="652" y="529"/>
                    </a:cubicBezTo>
                    <a:cubicBezTo>
                      <a:pt x="587" y="652"/>
                      <a:pt x="604" y="808"/>
                      <a:pt x="705" y="91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1">
                <a:extLst>
                  <a:ext uri="{FF2B5EF4-FFF2-40B4-BE49-F238E27FC236}">
                    <a16:creationId xmlns:a16="http://schemas.microsoft.com/office/drawing/2014/main" id="{F9EEAED7-4FFF-4707-B9E4-EC0C5FA18C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0016" y="2869692"/>
                <a:ext cx="1346835" cy="1297305"/>
              </a:xfrm>
              <a:custGeom>
                <a:avLst/>
                <a:gdLst>
                  <a:gd name="T0" fmla="*/ 1272 w 1887"/>
                  <a:gd name="T1" fmla="*/ 1297 h 1816"/>
                  <a:gd name="T2" fmla="*/ 1389 w 1887"/>
                  <a:gd name="T3" fmla="*/ 1401 h 1816"/>
                  <a:gd name="T4" fmla="*/ 1481 w 1887"/>
                  <a:gd name="T5" fmla="*/ 1296 h 1816"/>
                  <a:gd name="T6" fmla="*/ 1340 w 1887"/>
                  <a:gd name="T7" fmla="*/ 644 h 1816"/>
                  <a:gd name="T8" fmla="*/ 722 w 1887"/>
                  <a:gd name="T9" fmla="*/ 1239 h 1816"/>
                  <a:gd name="T10" fmla="*/ 760 w 1887"/>
                  <a:gd name="T11" fmla="*/ 1202 h 1816"/>
                  <a:gd name="T12" fmla="*/ 1302 w 1887"/>
                  <a:gd name="T13" fmla="*/ 681 h 1816"/>
                  <a:gd name="T14" fmla="*/ 1291 w 1887"/>
                  <a:gd name="T15" fmla="*/ 1212 h 1816"/>
                  <a:gd name="T16" fmla="*/ 1752 w 1887"/>
                  <a:gd name="T17" fmla="*/ 1816 h 1816"/>
                  <a:gd name="T18" fmla="*/ 1405 w 1887"/>
                  <a:gd name="T19" fmla="*/ 1477 h 1816"/>
                  <a:gd name="T20" fmla="*/ 1528 w 1887"/>
                  <a:gd name="T21" fmla="*/ 1327 h 1816"/>
                  <a:gd name="T22" fmla="*/ 1559 w 1887"/>
                  <a:gd name="T23" fmla="*/ 1327 h 1816"/>
                  <a:gd name="T24" fmla="*/ 1878 w 1887"/>
                  <a:gd name="T25" fmla="*/ 1714 h 1816"/>
                  <a:gd name="T26" fmla="*/ 1752 w 1887"/>
                  <a:gd name="T27" fmla="*/ 1816 h 1816"/>
                  <a:gd name="T28" fmla="*/ 1746 w 1887"/>
                  <a:gd name="T29" fmla="*/ 1770 h 1816"/>
                  <a:gd name="T30" fmla="*/ 1837 w 1887"/>
                  <a:gd name="T31" fmla="*/ 1700 h 1816"/>
                  <a:gd name="T32" fmla="*/ 1543 w 1887"/>
                  <a:gd name="T33" fmla="*/ 1374 h 1816"/>
                  <a:gd name="T34" fmla="*/ 1624 w 1887"/>
                  <a:gd name="T35" fmla="*/ 0 h 1816"/>
                  <a:gd name="T36" fmla="*/ 0 w 1887"/>
                  <a:gd name="T37" fmla="*/ 22 h 1816"/>
                  <a:gd name="T38" fmla="*/ 22 w 1887"/>
                  <a:gd name="T39" fmla="*/ 1208 h 1816"/>
                  <a:gd name="T40" fmla="*/ 611 w 1887"/>
                  <a:gd name="T41" fmla="*/ 1164 h 1816"/>
                  <a:gd name="T42" fmla="*/ 44 w 1887"/>
                  <a:gd name="T43" fmla="*/ 945 h 1816"/>
                  <a:gd name="T44" fmla="*/ 440 w 1887"/>
                  <a:gd name="T45" fmla="*/ 830 h 1816"/>
                  <a:gd name="T46" fmla="*/ 517 w 1887"/>
                  <a:gd name="T47" fmla="*/ 685 h 1816"/>
                  <a:gd name="T48" fmla="*/ 702 w 1887"/>
                  <a:gd name="T49" fmla="*/ 542 h 1816"/>
                  <a:gd name="T50" fmla="*/ 806 w 1887"/>
                  <a:gd name="T51" fmla="*/ 523 h 1816"/>
                  <a:gd name="T52" fmla="*/ 793 w 1887"/>
                  <a:gd name="T53" fmla="*/ 468 h 1816"/>
                  <a:gd name="T54" fmla="*/ 702 w 1887"/>
                  <a:gd name="T55" fmla="*/ 356 h 1816"/>
                  <a:gd name="T56" fmla="*/ 625 w 1887"/>
                  <a:gd name="T57" fmla="*/ 501 h 1816"/>
                  <a:gd name="T58" fmla="*/ 440 w 1887"/>
                  <a:gd name="T59" fmla="*/ 644 h 1816"/>
                  <a:gd name="T60" fmla="*/ 349 w 1887"/>
                  <a:gd name="T61" fmla="*/ 755 h 1816"/>
                  <a:gd name="T62" fmla="*/ 44 w 1887"/>
                  <a:gd name="T63" fmla="*/ 44 h 1816"/>
                  <a:gd name="T64" fmla="*/ 1602 w 1887"/>
                  <a:gd name="T65" fmla="*/ 104 h 1816"/>
                  <a:gd name="T66" fmla="*/ 1371 w 1887"/>
                  <a:gd name="T67" fmla="*/ 227 h 1816"/>
                  <a:gd name="T68" fmla="*/ 1286 w 1887"/>
                  <a:gd name="T69" fmla="*/ 359 h 1816"/>
                  <a:gd name="T70" fmla="*/ 1189 w 1887"/>
                  <a:gd name="T71" fmla="*/ 494 h 1816"/>
                  <a:gd name="T72" fmla="*/ 1371 w 1887"/>
                  <a:gd name="T73" fmla="*/ 413 h 1816"/>
                  <a:gd name="T74" fmla="*/ 1455 w 1887"/>
                  <a:gd name="T75" fmla="*/ 280 h 1816"/>
                  <a:gd name="T76" fmla="*/ 1602 w 1887"/>
                  <a:gd name="T77" fmla="*/ 1164 h 1816"/>
                  <a:gd name="T78" fmla="*/ 1438 w 1887"/>
                  <a:gd name="T79" fmla="*/ 1185 h 1816"/>
                  <a:gd name="T80" fmla="*/ 1624 w 1887"/>
                  <a:gd name="T81" fmla="*/ 1208 h 1816"/>
                  <a:gd name="T82" fmla="*/ 1646 w 1887"/>
                  <a:gd name="T83" fmla="*/ 22 h 1816"/>
                  <a:gd name="T84" fmla="*/ 702 w 1887"/>
                  <a:gd name="T85" fmla="*/ 400 h 1816"/>
                  <a:gd name="T86" fmla="*/ 702 w 1887"/>
                  <a:gd name="T87" fmla="*/ 498 h 1816"/>
                  <a:gd name="T88" fmla="*/ 702 w 1887"/>
                  <a:gd name="T89" fmla="*/ 400 h 1816"/>
                  <a:gd name="T90" fmla="*/ 489 w 1887"/>
                  <a:gd name="T91" fmla="*/ 737 h 1816"/>
                  <a:gd name="T92" fmla="*/ 391 w 1887"/>
                  <a:gd name="T93" fmla="*/ 737 h 1816"/>
                  <a:gd name="T94" fmla="*/ 1371 w 1887"/>
                  <a:gd name="T95" fmla="*/ 369 h 1816"/>
                  <a:gd name="T96" fmla="*/ 1371 w 1887"/>
                  <a:gd name="T97" fmla="*/ 271 h 1816"/>
                  <a:gd name="T98" fmla="*/ 1371 w 1887"/>
                  <a:gd name="T99" fmla="*/ 369 h 1816"/>
                  <a:gd name="T100" fmla="*/ 1111 w 1887"/>
                  <a:gd name="T101" fmla="*/ 750 h 1816"/>
                  <a:gd name="T102" fmla="*/ 942 w 1887"/>
                  <a:gd name="T103" fmla="*/ 769 h 1816"/>
                  <a:gd name="T104" fmla="*/ 766 w 1887"/>
                  <a:gd name="T105" fmla="*/ 742 h 1816"/>
                  <a:gd name="T106" fmla="*/ 916 w 1887"/>
                  <a:gd name="T107" fmla="*/ 843 h 1816"/>
                  <a:gd name="T108" fmla="*/ 1155 w 1887"/>
                  <a:gd name="T109" fmla="*/ 843 h 1816"/>
                  <a:gd name="T110" fmla="*/ 1258 w 1887"/>
                  <a:gd name="T111" fmla="*/ 698 h 1816"/>
                  <a:gd name="T112" fmla="*/ 1035 w 1887"/>
                  <a:gd name="T113" fmla="*/ 915 h 1816"/>
                  <a:gd name="T114" fmla="*/ 1035 w 1887"/>
                  <a:gd name="T115" fmla="*/ 771 h 1816"/>
                  <a:gd name="T116" fmla="*/ 1035 w 1887"/>
                  <a:gd name="T117" fmla="*/ 915 h 1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87" h="1816">
                    <a:moveTo>
                      <a:pt x="722" y="1239"/>
                    </a:moveTo>
                    <a:cubicBezTo>
                      <a:pt x="869" y="1392"/>
                      <a:pt x="1103" y="1412"/>
                      <a:pt x="1272" y="1297"/>
                    </a:cubicBezTo>
                    <a:cubicBezTo>
                      <a:pt x="1272" y="1297"/>
                      <a:pt x="1272" y="1297"/>
                      <a:pt x="1372" y="1400"/>
                    </a:cubicBezTo>
                    <a:cubicBezTo>
                      <a:pt x="1377" y="1405"/>
                      <a:pt x="1384" y="1405"/>
                      <a:pt x="1389" y="1401"/>
                    </a:cubicBezTo>
                    <a:cubicBezTo>
                      <a:pt x="1389" y="1401"/>
                      <a:pt x="1389" y="1401"/>
                      <a:pt x="1480" y="1313"/>
                    </a:cubicBezTo>
                    <a:cubicBezTo>
                      <a:pt x="1485" y="1308"/>
                      <a:pt x="1485" y="1301"/>
                      <a:pt x="1481" y="1296"/>
                    </a:cubicBezTo>
                    <a:cubicBezTo>
                      <a:pt x="1481" y="1296"/>
                      <a:pt x="1481" y="1296"/>
                      <a:pt x="1380" y="1191"/>
                    </a:cubicBezTo>
                    <a:cubicBezTo>
                      <a:pt x="1498" y="1026"/>
                      <a:pt x="1485" y="795"/>
                      <a:pt x="1340" y="644"/>
                    </a:cubicBezTo>
                    <a:cubicBezTo>
                      <a:pt x="1176" y="474"/>
                      <a:pt x="904" y="468"/>
                      <a:pt x="734" y="632"/>
                    </a:cubicBezTo>
                    <a:cubicBezTo>
                      <a:pt x="563" y="797"/>
                      <a:pt x="558" y="1068"/>
                      <a:pt x="722" y="1239"/>
                    </a:cubicBezTo>
                    <a:close/>
                    <a:moveTo>
                      <a:pt x="1260" y="1239"/>
                    </a:moveTo>
                    <a:cubicBezTo>
                      <a:pt x="1110" y="1355"/>
                      <a:pt x="894" y="1342"/>
                      <a:pt x="760" y="1202"/>
                    </a:cubicBezTo>
                    <a:cubicBezTo>
                      <a:pt x="617" y="1053"/>
                      <a:pt x="621" y="814"/>
                      <a:pt x="771" y="671"/>
                    </a:cubicBezTo>
                    <a:cubicBezTo>
                      <a:pt x="920" y="527"/>
                      <a:pt x="1158" y="532"/>
                      <a:pt x="1302" y="681"/>
                    </a:cubicBezTo>
                    <a:cubicBezTo>
                      <a:pt x="1434" y="819"/>
                      <a:pt x="1440" y="1033"/>
                      <a:pt x="1323" y="1178"/>
                    </a:cubicBezTo>
                    <a:cubicBezTo>
                      <a:pt x="1313" y="1190"/>
                      <a:pt x="1302" y="1202"/>
                      <a:pt x="1291" y="1212"/>
                    </a:cubicBezTo>
                    <a:cubicBezTo>
                      <a:pt x="1281" y="1222"/>
                      <a:pt x="1271" y="1231"/>
                      <a:pt x="1260" y="1239"/>
                    </a:cubicBezTo>
                    <a:close/>
                    <a:moveTo>
                      <a:pt x="1752" y="1816"/>
                    </a:moveTo>
                    <a:cubicBezTo>
                      <a:pt x="1737" y="1816"/>
                      <a:pt x="1724" y="1811"/>
                      <a:pt x="1714" y="1801"/>
                    </a:cubicBezTo>
                    <a:cubicBezTo>
                      <a:pt x="1405" y="1477"/>
                      <a:pt x="1405" y="1477"/>
                      <a:pt x="1405" y="1477"/>
                    </a:cubicBezTo>
                    <a:cubicBezTo>
                      <a:pt x="1396" y="1468"/>
                      <a:pt x="1396" y="1454"/>
                      <a:pt x="1405" y="1446"/>
                    </a:cubicBezTo>
                    <a:cubicBezTo>
                      <a:pt x="1528" y="1327"/>
                      <a:pt x="1528" y="1327"/>
                      <a:pt x="1528" y="1327"/>
                    </a:cubicBezTo>
                    <a:cubicBezTo>
                      <a:pt x="1533" y="1323"/>
                      <a:pt x="1538" y="1321"/>
                      <a:pt x="1544" y="1321"/>
                    </a:cubicBezTo>
                    <a:cubicBezTo>
                      <a:pt x="1550" y="1321"/>
                      <a:pt x="1555" y="1323"/>
                      <a:pt x="1559" y="1327"/>
                    </a:cubicBezTo>
                    <a:cubicBezTo>
                      <a:pt x="1870" y="1652"/>
                      <a:pt x="1870" y="1652"/>
                      <a:pt x="1870" y="1652"/>
                    </a:cubicBezTo>
                    <a:cubicBezTo>
                      <a:pt x="1884" y="1667"/>
                      <a:pt x="1887" y="1689"/>
                      <a:pt x="1878" y="1714"/>
                    </a:cubicBezTo>
                    <a:cubicBezTo>
                      <a:pt x="1871" y="1735"/>
                      <a:pt x="1857" y="1756"/>
                      <a:pt x="1838" y="1774"/>
                    </a:cubicBezTo>
                    <a:cubicBezTo>
                      <a:pt x="1810" y="1801"/>
                      <a:pt x="1778" y="1816"/>
                      <a:pt x="1752" y="1816"/>
                    </a:cubicBezTo>
                    <a:close/>
                    <a:moveTo>
                      <a:pt x="1451" y="1462"/>
                    </a:moveTo>
                    <a:cubicBezTo>
                      <a:pt x="1746" y="1770"/>
                      <a:pt x="1746" y="1770"/>
                      <a:pt x="1746" y="1770"/>
                    </a:cubicBezTo>
                    <a:cubicBezTo>
                      <a:pt x="1750" y="1774"/>
                      <a:pt x="1777" y="1772"/>
                      <a:pt x="1808" y="1743"/>
                    </a:cubicBezTo>
                    <a:cubicBezTo>
                      <a:pt x="1821" y="1729"/>
                      <a:pt x="1832" y="1714"/>
                      <a:pt x="1837" y="1700"/>
                    </a:cubicBezTo>
                    <a:cubicBezTo>
                      <a:pt x="1840" y="1690"/>
                      <a:pt x="1839" y="1684"/>
                      <a:pt x="1838" y="1682"/>
                    </a:cubicBezTo>
                    <a:cubicBezTo>
                      <a:pt x="1543" y="1374"/>
                      <a:pt x="1543" y="1374"/>
                      <a:pt x="1543" y="1374"/>
                    </a:cubicBezTo>
                    <a:lnTo>
                      <a:pt x="1451" y="1462"/>
                    </a:lnTo>
                    <a:close/>
                    <a:moveTo>
                      <a:pt x="1624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186"/>
                      <a:pt x="0" y="1186"/>
                      <a:pt x="0" y="1186"/>
                    </a:cubicBezTo>
                    <a:cubicBezTo>
                      <a:pt x="0" y="1198"/>
                      <a:pt x="10" y="1208"/>
                      <a:pt x="22" y="1208"/>
                    </a:cubicBezTo>
                    <a:cubicBezTo>
                      <a:pt x="638" y="1208"/>
                      <a:pt x="638" y="1208"/>
                      <a:pt x="638" y="1208"/>
                    </a:cubicBezTo>
                    <a:cubicBezTo>
                      <a:pt x="628" y="1193"/>
                      <a:pt x="619" y="1179"/>
                      <a:pt x="611" y="1164"/>
                    </a:cubicBezTo>
                    <a:cubicBezTo>
                      <a:pt x="44" y="1164"/>
                      <a:pt x="44" y="1164"/>
                      <a:pt x="44" y="1164"/>
                    </a:cubicBezTo>
                    <a:cubicBezTo>
                      <a:pt x="44" y="945"/>
                      <a:pt x="44" y="945"/>
                      <a:pt x="44" y="945"/>
                    </a:cubicBezTo>
                    <a:cubicBezTo>
                      <a:pt x="368" y="795"/>
                      <a:pt x="368" y="795"/>
                      <a:pt x="368" y="795"/>
                    </a:cubicBezTo>
                    <a:cubicBezTo>
                      <a:pt x="385" y="816"/>
                      <a:pt x="411" y="830"/>
                      <a:pt x="440" y="830"/>
                    </a:cubicBezTo>
                    <a:cubicBezTo>
                      <a:pt x="492" y="830"/>
                      <a:pt x="533" y="788"/>
                      <a:pt x="533" y="737"/>
                    </a:cubicBezTo>
                    <a:cubicBezTo>
                      <a:pt x="533" y="718"/>
                      <a:pt x="527" y="700"/>
                      <a:pt x="517" y="685"/>
                    </a:cubicBezTo>
                    <a:cubicBezTo>
                      <a:pt x="658" y="530"/>
                      <a:pt x="658" y="530"/>
                      <a:pt x="658" y="530"/>
                    </a:cubicBezTo>
                    <a:cubicBezTo>
                      <a:pt x="671" y="538"/>
                      <a:pt x="686" y="542"/>
                      <a:pt x="702" y="542"/>
                    </a:cubicBezTo>
                    <a:cubicBezTo>
                      <a:pt x="731" y="542"/>
                      <a:pt x="757" y="528"/>
                      <a:pt x="774" y="508"/>
                    </a:cubicBezTo>
                    <a:cubicBezTo>
                      <a:pt x="806" y="523"/>
                      <a:pt x="806" y="523"/>
                      <a:pt x="806" y="523"/>
                    </a:cubicBezTo>
                    <a:cubicBezTo>
                      <a:pt x="823" y="514"/>
                      <a:pt x="840" y="506"/>
                      <a:pt x="858" y="499"/>
                    </a:cubicBezTo>
                    <a:cubicBezTo>
                      <a:pt x="793" y="468"/>
                      <a:pt x="793" y="468"/>
                      <a:pt x="793" y="468"/>
                    </a:cubicBezTo>
                    <a:cubicBezTo>
                      <a:pt x="794" y="462"/>
                      <a:pt x="795" y="455"/>
                      <a:pt x="795" y="449"/>
                    </a:cubicBezTo>
                    <a:cubicBezTo>
                      <a:pt x="795" y="397"/>
                      <a:pt x="753" y="356"/>
                      <a:pt x="702" y="356"/>
                    </a:cubicBezTo>
                    <a:cubicBezTo>
                      <a:pt x="651" y="356"/>
                      <a:pt x="609" y="397"/>
                      <a:pt x="609" y="449"/>
                    </a:cubicBezTo>
                    <a:cubicBezTo>
                      <a:pt x="609" y="468"/>
                      <a:pt x="615" y="486"/>
                      <a:pt x="625" y="501"/>
                    </a:cubicBezTo>
                    <a:cubicBezTo>
                      <a:pt x="485" y="655"/>
                      <a:pt x="485" y="655"/>
                      <a:pt x="485" y="655"/>
                    </a:cubicBezTo>
                    <a:cubicBezTo>
                      <a:pt x="471" y="648"/>
                      <a:pt x="456" y="644"/>
                      <a:pt x="440" y="644"/>
                    </a:cubicBezTo>
                    <a:cubicBezTo>
                      <a:pt x="389" y="644"/>
                      <a:pt x="347" y="686"/>
                      <a:pt x="347" y="737"/>
                    </a:cubicBezTo>
                    <a:cubicBezTo>
                      <a:pt x="347" y="743"/>
                      <a:pt x="348" y="749"/>
                      <a:pt x="349" y="755"/>
                    </a:cubicBezTo>
                    <a:cubicBezTo>
                      <a:pt x="44" y="896"/>
                      <a:pt x="44" y="896"/>
                      <a:pt x="44" y="896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602" y="44"/>
                      <a:pt x="1602" y="44"/>
                      <a:pt x="1602" y="44"/>
                    </a:cubicBezTo>
                    <a:cubicBezTo>
                      <a:pt x="1602" y="104"/>
                      <a:pt x="1602" y="104"/>
                      <a:pt x="1602" y="104"/>
                    </a:cubicBezTo>
                    <a:cubicBezTo>
                      <a:pt x="1427" y="246"/>
                      <a:pt x="1427" y="246"/>
                      <a:pt x="1427" y="246"/>
                    </a:cubicBezTo>
                    <a:cubicBezTo>
                      <a:pt x="1411" y="234"/>
                      <a:pt x="1392" y="227"/>
                      <a:pt x="1371" y="227"/>
                    </a:cubicBezTo>
                    <a:cubicBezTo>
                      <a:pt x="1319" y="227"/>
                      <a:pt x="1278" y="269"/>
                      <a:pt x="1278" y="320"/>
                    </a:cubicBezTo>
                    <a:cubicBezTo>
                      <a:pt x="1278" y="334"/>
                      <a:pt x="1281" y="347"/>
                      <a:pt x="1286" y="359"/>
                    </a:cubicBezTo>
                    <a:cubicBezTo>
                      <a:pt x="1137" y="479"/>
                      <a:pt x="1137" y="479"/>
                      <a:pt x="1137" y="479"/>
                    </a:cubicBezTo>
                    <a:cubicBezTo>
                      <a:pt x="1155" y="483"/>
                      <a:pt x="1172" y="488"/>
                      <a:pt x="1189" y="494"/>
                    </a:cubicBezTo>
                    <a:cubicBezTo>
                      <a:pt x="1314" y="394"/>
                      <a:pt x="1314" y="394"/>
                      <a:pt x="1314" y="394"/>
                    </a:cubicBezTo>
                    <a:cubicBezTo>
                      <a:pt x="1330" y="406"/>
                      <a:pt x="1349" y="413"/>
                      <a:pt x="1371" y="413"/>
                    </a:cubicBezTo>
                    <a:cubicBezTo>
                      <a:pt x="1422" y="413"/>
                      <a:pt x="1464" y="371"/>
                      <a:pt x="1464" y="320"/>
                    </a:cubicBezTo>
                    <a:cubicBezTo>
                      <a:pt x="1464" y="306"/>
                      <a:pt x="1460" y="292"/>
                      <a:pt x="1455" y="280"/>
                    </a:cubicBezTo>
                    <a:cubicBezTo>
                      <a:pt x="1602" y="160"/>
                      <a:pt x="1602" y="160"/>
                      <a:pt x="1602" y="160"/>
                    </a:cubicBezTo>
                    <a:cubicBezTo>
                      <a:pt x="1602" y="1164"/>
                      <a:pt x="1602" y="1164"/>
                      <a:pt x="1602" y="1164"/>
                    </a:cubicBezTo>
                    <a:cubicBezTo>
                      <a:pt x="1450" y="1164"/>
                      <a:pt x="1450" y="1164"/>
                      <a:pt x="1450" y="1164"/>
                    </a:cubicBezTo>
                    <a:cubicBezTo>
                      <a:pt x="1446" y="1171"/>
                      <a:pt x="1442" y="1178"/>
                      <a:pt x="1438" y="1185"/>
                    </a:cubicBezTo>
                    <a:cubicBezTo>
                      <a:pt x="1460" y="1208"/>
                      <a:pt x="1460" y="1208"/>
                      <a:pt x="1460" y="1208"/>
                    </a:cubicBezTo>
                    <a:cubicBezTo>
                      <a:pt x="1624" y="1208"/>
                      <a:pt x="1624" y="1208"/>
                      <a:pt x="1624" y="1208"/>
                    </a:cubicBezTo>
                    <a:cubicBezTo>
                      <a:pt x="1636" y="1208"/>
                      <a:pt x="1646" y="1198"/>
                      <a:pt x="1646" y="1186"/>
                    </a:cubicBezTo>
                    <a:cubicBezTo>
                      <a:pt x="1646" y="22"/>
                      <a:pt x="1646" y="22"/>
                      <a:pt x="1646" y="22"/>
                    </a:cubicBezTo>
                    <a:cubicBezTo>
                      <a:pt x="1646" y="10"/>
                      <a:pt x="1636" y="0"/>
                      <a:pt x="1624" y="0"/>
                    </a:cubicBezTo>
                    <a:close/>
                    <a:moveTo>
                      <a:pt x="702" y="400"/>
                    </a:moveTo>
                    <a:cubicBezTo>
                      <a:pt x="729" y="400"/>
                      <a:pt x="751" y="422"/>
                      <a:pt x="751" y="449"/>
                    </a:cubicBezTo>
                    <a:cubicBezTo>
                      <a:pt x="751" y="476"/>
                      <a:pt x="729" y="498"/>
                      <a:pt x="702" y="498"/>
                    </a:cubicBezTo>
                    <a:cubicBezTo>
                      <a:pt x="675" y="498"/>
                      <a:pt x="653" y="476"/>
                      <a:pt x="653" y="449"/>
                    </a:cubicBezTo>
                    <a:cubicBezTo>
                      <a:pt x="653" y="422"/>
                      <a:pt x="675" y="400"/>
                      <a:pt x="702" y="400"/>
                    </a:cubicBezTo>
                    <a:close/>
                    <a:moveTo>
                      <a:pt x="440" y="688"/>
                    </a:moveTo>
                    <a:cubicBezTo>
                      <a:pt x="467" y="688"/>
                      <a:pt x="489" y="710"/>
                      <a:pt x="489" y="737"/>
                    </a:cubicBezTo>
                    <a:cubicBezTo>
                      <a:pt x="489" y="764"/>
                      <a:pt x="467" y="786"/>
                      <a:pt x="440" y="786"/>
                    </a:cubicBezTo>
                    <a:cubicBezTo>
                      <a:pt x="413" y="786"/>
                      <a:pt x="391" y="764"/>
                      <a:pt x="391" y="737"/>
                    </a:cubicBezTo>
                    <a:cubicBezTo>
                      <a:pt x="391" y="710"/>
                      <a:pt x="413" y="688"/>
                      <a:pt x="440" y="688"/>
                    </a:cubicBezTo>
                    <a:close/>
                    <a:moveTo>
                      <a:pt x="1371" y="369"/>
                    </a:moveTo>
                    <a:cubicBezTo>
                      <a:pt x="1344" y="369"/>
                      <a:pt x="1322" y="347"/>
                      <a:pt x="1322" y="320"/>
                    </a:cubicBezTo>
                    <a:cubicBezTo>
                      <a:pt x="1322" y="293"/>
                      <a:pt x="1344" y="271"/>
                      <a:pt x="1371" y="271"/>
                    </a:cubicBezTo>
                    <a:cubicBezTo>
                      <a:pt x="1398" y="271"/>
                      <a:pt x="1420" y="293"/>
                      <a:pt x="1420" y="320"/>
                    </a:cubicBezTo>
                    <a:cubicBezTo>
                      <a:pt x="1420" y="347"/>
                      <a:pt x="1398" y="369"/>
                      <a:pt x="1371" y="369"/>
                    </a:cubicBezTo>
                    <a:close/>
                    <a:moveTo>
                      <a:pt x="1217" y="665"/>
                    </a:moveTo>
                    <a:cubicBezTo>
                      <a:pt x="1111" y="750"/>
                      <a:pt x="1111" y="750"/>
                      <a:pt x="1111" y="750"/>
                    </a:cubicBezTo>
                    <a:cubicBezTo>
                      <a:pt x="1090" y="733"/>
                      <a:pt x="1064" y="723"/>
                      <a:pt x="1035" y="723"/>
                    </a:cubicBezTo>
                    <a:cubicBezTo>
                      <a:pt x="997" y="723"/>
                      <a:pt x="963" y="741"/>
                      <a:pt x="942" y="769"/>
                    </a:cubicBezTo>
                    <a:cubicBezTo>
                      <a:pt x="801" y="701"/>
                      <a:pt x="801" y="701"/>
                      <a:pt x="801" y="701"/>
                    </a:cubicBezTo>
                    <a:cubicBezTo>
                      <a:pt x="788" y="714"/>
                      <a:pt x="776" y="727"/>
                      <a:pt x="766" y="742"/>
                    </a:cubicBezTo>
                    <a:cubicBezTo>
                      <a:pt x="919" y="816"/>
                      <a:pt x="919" y="816"/>
                      <a:pt x="919" y="816"/>
                    </a:cubicBezTo>
                    <a:cubicBezTo>
                      <a:pt x="917" y="824"/>
                      <a:pt x="916" y="834"/>
                      <a:pt x="916" y="843"/>
                    </a:cubicBezTo>
                    <a:cubicBezTo>
                      <a:pt x="916" y="909"/>
                      <a:pt x="969" y="963"/>
                      <a:pt x="1035" y="963"/>
                    </a:cubicBezTo>
                    <a:cubicBezTo>
                      <a:pt x="1102" y="963"/>
                      <a:pt x="1155" y="909"/>
                      <a:pt x="1155" y="843"/>
                    </a:cubicBezTo>
                    <a:cubicBezTo>
                      <a:pt x="1155" y="824"/>
                      <a:pt x="1151" y="806"/>
                      <a:pt x="1143" y="790"/>
                    </a:cubicBezTo>
                    <a:cubicBezTo>
                      <a:pt x="1258" y="698"/>
                      <a:pt x="1258" y="698"/>
                      <a:pt x="1258" y="698"/>
                    </a:cubicBezTo>
                    <a:cubicBezTo>
                      <a:pt x="1245" y="686"/>
                      <a:pt x="1231" y="675"/>
                      <a:pt x="1217" y="665"/>
                    </a:cubicBezTo>
                    <a:close/>
                    <a:moveTo>
                      <a:pt x="1035" y="915"/>
                    </a:moveTo>
                    <a:cubicBezTo>
                      <a:pt x="996" y="915"/>
                      <a:pt x="964" y="883"/>
                      <a:pt x="964" y="843"/>
                    </a:cubicBezTo>
                    <a:cubicBezTo>
                      <a:pt x="964" y="803"/>
                      <a:pt x="996" y="771"/>
                      <a:pt x="1035" y="771"/>
                    </a:cubicBezTo>
                    <a:cubicBezTo>
                      <a:pt x="1075" y="771"/>
                      <a:pt x="1107" y="803"/>
                      <a:pt x="1107" y="843"/>
                    </a:cubicBezTo>
                    <a:cubicBezTo>
                      <a:pt x="1107" y="883"/>
                      <a:pt x="1075" y="915"/>
                      <a:pt x="1035" y="91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6" name="Group 65"/>
          <p:cNvGrpSpPr>
            <a:grpSpLocks noChangeAspect="1"/>
          </p:cNvGrpSpPr>
          <p:nvPr/>
        </p:nvGrpSpPr>
        <p:grpSpPr>
          <a:xfrm>
            <a:off x="1912904" y="1832676"/>
            <a:ext cx="521424" cy="521908"/>
            <a:chOff x="5273802" y="2606040"/>
            <a:chExt cx="1644396" cy="1645920"/>
          </a:xfrm>
        </p:grpSpPr>
        <p:sp>
          <p:nvSpPr>
            <p:cNvPr id="67" name="AutoShape 3">
              <a:extLst>
                <a:ext uri="{FF2B5EF4-FFF2-40B4-BE49-F238E27FC236}">
                  <a16:creationId xmlns:a16="http://schemas.microsoft.com/office/drawing/2014/main" id="{1095E810-36B2-4027-8D18-55E445EE692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5640705" y="2824734"/>
              <a:ext cx="909066" cy="1207008"/>
              <a:chOff x="5640705" y="2824734"/>
              <a:chExt cx="909066" cy="1207008"/>
            </a:xfrm>
          </p:grpSpPr>
          <p:sp>
            <p:nvSpPr>
              <p:cNvPr id="69" name="Freeform 5">
                <a:extLst>
                  <a:ext uri="{FF2B5EF4-FFF2-40B4-BE49-F238E27FC236}">
                    <a16:creationId xmlns:a16="http://schemas.microsoft.com/office/drawing/2014/main" id="{24C1B755-B772-47D6-80DC-F7EB6660C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018" y="2891028"/>
                <a:ext cx="623697" cy="1074420"/>
              </a:xfrm>
              <a:custGeom>
                <a:avLst/>
                <a:gdLst>
                  <a:gd name="T0" fmla="*/ 776 w 874"/>
                  <a:gd name="T1" fmla="*/ 0 h 1504"/>
                  <a:gd name="T2" fmla="*/ 776 w 874"/>
                  <a:gd name="T3" fmla="*/ 438 h 1504"/>
                  <a:gd name="T4" fmla="*/ 764 w 874"/>
                  <a:gd name="T5" fmla="*/ 445 h 1504"/>
                  <a:gd name="T6" fmla="*/ 651 w 874"/>
                  <a:gd name="T7" fmla="*/ 335 h 1504"/>
                  <a:gd name="T8" fmla="*/ 641 w 874"/>
                  <a:gd name="T9" fmla="*/ 335 h 1504"/>
                  <a:gd name="T10" fmla="*/ 529 w 874"/>
                  <a:gd name="T11" fmla="*/ 445 h 1504"/>
                  <a:gd name="T12" fmla="*/ 516 w 874"/>
                  <a:gd name="T13" fmla="*/ 438 h 1504"/>
                  <a:gd name="T14" fmla="*/ 516 w 874"/>
                  <a:gd name="T15" fmla="*/ 0 h 1504"/>
                  <a:gd name="T16" fmla="*/ 0 w 874"/>
                  <a:gd name="T17" fmla="*/ 0 h 1504"/>
                  <a:gd name="T18" fmla="*/ 0 w 874"/>
                  <a:gd name="T19" fmla="*/ 1504 h 1504"/>
                  <a:gd name="T20" fmla="*/ 874 w 874"/>
                  <a:gd name="T21" fmla="*/ 1504 h 1504"/>
                  <a:gd name="T22" fmla="*/ 874 w 874"/>
                  <a:gd name="T23" fmla="*/ 0 h 1504"/>
                  <a:gd name="T24" fmla="*/ 776 w 874"/>
                  <a:gd name="T25" fmla="*/ 0 h 1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4" h="1504">
                    <a:moveTo>
                      <a:pt x="776" y="0"/>
                    </a:moveTo>
                    <a:cubicBezTo>
                      <a:pt x="776" y="438"/>
                      <a:pt x="776" y="438"/>
                      <a:pt x="776" y="438"/>
                    </a:cubicBezTo>
                    <a:cubicBezTo>
                      <a:pt x="776" y="446"/>
                      <a:pt x="768" y="451"/>
                      <a:pt x="764" y="445"/>
                    </a:cubicBezTo>
                    <a:cubicBezTo>
                      <a:pt x="651" y="335"/>
                      <a:pt x="651" y="335"/>
                      <a:pt x="651" y="335"/>
                    </a:cubicBezTo>
                    <a:cubicBezTo>
                      <a:pt x="648" y="333"/>
                      <a:pt x="644" y="333"/>
                      <a:pt x="641" y="335"/>
                    </a:cubicBezTo>
                    <a:cubicBezTo>
                      <a:pt x="529" y="445"/>
                      <a:pt x="529" y="445"/>
                      <a:pt x="529" y="445"/>
                    </a:cubicBezTo>
                    <a:cubicBezTo>
                      <a:pt x="524" y="451"/>
                      <a:pt x="516" y="446"/>
                      <a:pt x="516" y="438"/>
                    </a:cubicBezTo>
                    <a:cubicBezTo>
                      <a:pt x="516" y="99"/>
                      <a:pt x="516" y="19"/>
                      <a:pt x="51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04"/>
                      <a:pt x="0" y="1504"/>
                      <a:pt x="0" y="1504"/>
                    </a:cubicBezTo>
                    <a:cubicBezTo>
                      <a:pt x="874" y="1504"/>
                      <a:pt x="874" y="1504"/>
                      <a:pt x="874" y="1504"/>
                    </a:cubicBezTo>
                    <a:cubicBezTo>
                      <a:pt x="874" y="0"/>
                      <a:pt x="874" y="0"/>
                      <a:pt x="874" y="0"/>
                    </a:cubicBezTo>
                    <a:lnTo>
                      <a:pt x="776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6">
                <a:extLst>
                  <a:ext uri="{FF2B5EF4-FFF2-40B4-BE49-F238E27FC236}">
                    <a16:creationId xmlns:a16="http://schemas.microsoft.com/office/drawing/2014/main" id="{66006530-2940-4AD3-84FC-0FAF464B74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0705" y="2824734"/>
                <a:ext cx="909066" cy="1207008"/>
              </a:xfrm>
              <a:custGeom>
                <a:avLst/>
                <a:gdLst>
                  <a:gd name="T0" fmla="*/ 1252 w 1274"/>
                  <a:gd name="T1" fmla="*/ 1690 h 1690"/>
                  <a:gd name="T2" fmla="*/ 22 w 1274"/>
                  <a:gd name="T3" fmla="*/ 1690 h 1690"/>
                  <a:gd name="T4" fmla="*/ 0 w 1274"/>
                  <a:gd name="T5" fmla="*/ 1668 h 1690"/>
                  <a:gd name="T6" fmla="*/ 0 w 1274"/>
                  <a:gd name="T7" fmla="*/ 22 h 1690"/>
                  <a:gd name="T8" fmla="*/ 22 w 1274"/>
                  <a:gd name="T9" fmla="*/ 0 h 1690"/>
                  <a:gd name="T10" fmla="*/ 1252 w 1274"/>
                  <a:gd name="T11" fmla="*/ 0 h 1690"/>
                  <a:gd name="T12" fmla="*/ 1274 w 1274"/>
                  <a:gd name="T13" fmla="*/ 22 h 1690"/>
                  <a:gd name="T14" fmla="*/ 1274 w 1274"/>
                  <a:gd name="T15" fmla="*/ 1668 h 1690"/>
                  <a:gd name="T16" fmla="*/ 1252 w 1274"/>
                  <a:gd name="T17" fmla="*/ 1690 h 1690"/>
                  <a:gd name="T18" fmla="*/ 44 w 1274"/>
                  <a:gd name="T19" fmla="*/ 1646 h 1690"/>
                  <a:gd name="T20" fmla="*/ 1230 w 1274"/>
                  <a:gd name="T21" fmla="*/ 1646 h 1690"/>
                  <a:gd name="T22" fmla="*/ 1230 w 1274"/>
                  <a:gd name="T23" fmla="*/ 44 h 1690"/>
                  <a:gd name="T24" fmla="*/ 44 w 1274"/>
                  <a:gd name="T25" fmla="*/ 44 h 1690"/>
                  <a:gd name="T26" fmla="*/ 44 w 1274"/>
                  <a:gd name="T27" fmla="*/ 1646 h 1690"/>
                  <a:gd name="T28" fmla="*/ 262 w 1274"/>
                  <a:gd name="T29" fmla="*/ 93 h 1690"/>
                  <a:gd name="T30" fmla="*/ 94 w 1274"/>
                  <a:gd name="T31" fmla="*/ 93 h 1690"/>
                  <a:gd name="T32" fmla="*/ 94 w 1274"/>
                  <a:gd name="T33" fmla="*/ 1597 h 1690"/>
                  <a:gd name="T34" fmla="*/ 262 w 1274"/>
                  <a:gd name="T35" fmla="*/ 1597 h 1690"/>
                  <a:gd name="T36" fmla="*/ 262 w 1274"/>
                  <a:gd name="T37" fmla="*/ 93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74" h="1690">
                    <a:moveTo>
                      <a:pt x="1252" y="1690"/>
                    </a:moveTo>
                    <a:cubicBezTo>
                      <a:pt x="22" y="1690"/>
                      <a:pt x="22" y="1690"/>
                      <a:pt x="22" y="1690"/>
                    </a:cubicBezTo>
                    <a:cubicBezTo>
                      <a:pt x="10" y="1690"/>
                      <a:pt x="0" y="1680"/>
                      <a:pt x="0" y="166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252" y="0"/>
                      <a:pt x="1252" y="0"/>
                      <a:pt x="1252" y="0"/>
                    </a:cubicBezTo>
                    <a:cubicBezTo>
                      <a:pt x="1264" y="0"/>
                      <a:pt x="1274" y="10"/>
                      <a:pt x="1274" y="22"/>
                    </a:cubicBezTo>
                    <a:cubicBezTo>
                      <a:pt x="1274" y="1668"/>
                      <a:pt x="1274" y="1668"/>
                      <a:pt x="1274" y="1668"/>
                    </a:cubicBezTo>
                    <a:cubicBezTo>
                      <a:pt x="1274" y="1680"/>
                      <a:pt x="1264" y="1690"/>
                      <a:pt x="1252" y="1690"/>
                    </a:cubicBezTo>
                    <a:close/>
                    <a:moveTo>
                      <a:pt x="44" y="1646"/>
                    </a:moveTo>
                    <a:cubicBezTo>
                      <a:pt x="1230" y="1646"/>
                      <a:pt x="1230" y="1646"/>
                      <a:pt x="1230" y="1646"/>
                    </a:cubicBezTo>
                    <a:cubicBezTo>
                      <a:pt x="1230" y="44"/>
                      <a:pt x="1230" y="44"/>
                      <a:pt x="1230" y="44"/>
                    </a:cubicBezTo>
                    <a:cubicBezTo>
                      <a:pt x="44" y="44"/>
                      <a:pt x="44" y="44"/>
                      <a:pt x="44" y="44"/>
                    </a:cubicBezTo>
                    <a:lnTo>
                      <a:pt x="44" y="1646"/>
                    </a:lnTo>
                    <a:close/>
                    <a:moveTo>
                      <a:pt x="262" y="93"/>
                    </a:moveTo>
                    <a:cubicBezTo>
                      <a:pt x="94" y="93"/>
                      <a:pt x="94" y="93"/>
                      <a:pt x="94" y="93"/>
                    </a:cubicBezTo>
                    <a:cubicBezTo>
                      <a:pt x="94" y="1597"/>
                      <a:pt x="94" y="1597"/>
                      <a:pt x="94" y="1597"/>
                    </a:cubicBezTo>
                    <a:cubicBezTo>
                      <a:pt x="262" y="1597"/>
                      <a:pt x="262" y="1597"/>
                      <a:pt x="262" y="1597"/>
                    </a:cubicBezTo>
                    <a:lnTo>
                      <a:pt x="262" y="9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416640" y="4951473"/>
            <a:ext cx="11487553" cy="430887"/>
            <a:chOff x="630000" y="5751304"/>
            <a:chExt cx="11487553" cy="430887"/>
          </a:xfrm>
        </p:grpSpPr>
        <p:sp>
          <p:nvSpPr>
            <p:cNvPr id="57" name="Rectangle 56"/>
            <p:cNvSpPr/>
            <p:nvPr/>
          </p:nvSpPr>
          <p:spPr>
            <a:xfrm>
              <a:off x="630000" y="5751304"/>
              <a:ext cx="1413796" cy="43088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de-DE" sz="1400" dirty="0">
                  <a:solidFill>
                    <a:srgbClr val="B61872"/>
                  </a:solidFill>
                </a:rPr>
                <a:t>Days to complete analyses</a:t>
              </a:r>
              <a:r>
                <a:rPr lang="de-DE" sz="1400" baseline="30000" dirty="0">
                  <a:solidFill>
                    <a:srgbClr val="B61872"/>
                  </a:solidFill>
                </a:rPr>
                <a:t>1</a:t>
              </a:r>
              <a:endParaRPr lang="de-DE" sz="1400" dirty="0">
                <a:solidFill>
                  <a:srgbClr val="B61872"/>
                </a:solidFill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225547" y="5765964"/>
              <a:ext cx="3096490" cy="39728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4800" lvl="1" algn="ctr">
                <a:buClr>
                  <a:srgbClr val="7F7F7F">
                    <a:lumMod val="100000"/>
                  </a:srgbClr>
                </a:buClr>
                <a:buSzPct val="100000"/>
              </a:pPr>
              <a:r>
                <a:rPr lang="de-DE" sz="1600" dirty="0">
                  <a:solidFill>
                    <a:srgbClr val="38468F"/>
                  </a:solidFill>
                  <a:latin typeface="Trebuchet MS" panose="020B0603020202020204" pitchFamily="34" charset="0"/>
                </a:rPr>
                <a:t>10</a:t>
              </a:r>
              <a:endParaRPr lang="de-DE" sz="1600" baseline="30000" dirty="0">
                <a:solidFill>
                  <a:srgbClr val="38468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5503788" y="5755717"/>
              <a:ext cx="3216008" cy="39728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4800" lvl="1" algn="ctr">
                <a:buClr>
                  <a:srgbClr val="7F7F7F">
                    <a:lumMod val="100000"/>
                  </a:srgbClr>
                </a:buClr>
                <a:buSzPct val="100000"/>
              </a:pPr>
              <a:r>
                <a:rPr lang="de-DE" sz="1600" dirty="0">
                  <a:solidFill>
                    <a:srgbClr val="38468F"/>
                  </a:solidFill>
                  <a:latin typeface="Trebuchet MS" panose="020B0603020202020204" pitchFamily="34" charset="0"/>
                </a:rPr>
                <a:t>30</a:t>
              </a: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2133726" y="5751304"/>
              <a:ext cx="0" cy="430887"/>
            </a:xfrm>
            <a:prstGeom prst="line">
              <a:avLst/>
            </a:prstGeom>
            <a:ln w="9525">
              <a:solidFill>
                <a:srgbClr val="7F7F7F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>
            <a:xfrm>
              <a:off x="9021063" y="5755717"/>
              <a:ext cx="3096490" cy="39728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4800" lvl="1" algn="ctr">
                <a:buClr>
                  <a:srgbClr val="7F7F7F">
                    <a:lumMod val="100000"/>
                  </a:srgbClr>
                </a:buClr>
                <a:buSzPct val="100000"/>
              </a:pPr>
              <a:r>
                <a:rPr lang="de-DE" sz="1600" dirty="0">
                  <a:solidFill>
                    <a:srgbClr val="38468F"/>
                  </a:solidFill>
                  <a:latin typeface="Trebuchet MS" panose="020B0603020202020204" pitchFamily="34" charset="0"/>
                </a:rPr>
                <a:t>45+45</a:t>
              </a:r>
              <a:r>
                <a:rPr lang="de-DE" sz="1600" baseline="30000" dirty="0">
                  <a:solidFill>
                    <a:srgbClr val="38468F"/>
                  </a:solidFill>
                  <a:latin typeface="Trebuchet MS" panose="020B0603020202020204" pitchFamily="34" charset="0"/>
                </a:rPr>
                <a:t>2</a:t>
              </a:r>
              <a:r>
                <a:rPr lang="de-DE" sz="1600" dirty="0">
                  <a:solidFill>
                    <a:srgbClr val="38468F"/>
                  </a:solidFill>
                  <a:latin typeface="Trebuchet MS" panose="020B0603020202020204" pitchFamily="34" charset="0"/>
                </a:rPr>
                <a:t> </a:t>
              </a:r>
            </a:p>
          </p:txBody>
        </p:sp>
      </p:grpSp>
      <p:sp>
        <p:nvSpPr>
          <p:cNvPr id="4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6" name="NavigationIcon"/>
          <p:cNvSpPr>
            <a:spLocks noChangeAspect="1"/>
          </p:cNvSpPr>
          <p:nvPr/>
        </p:nvSpPr>
        <p:spPr bwMode="auto">
          <a:xfrm>
            <a:off x="11762998" y="132877"/>
            <a:ext cx="220851" cy="365760"/>
          </a:xfrm>
          <a:custGeom>
            <a:avLst/>
            <a:gdLst>
              <a:gd name="connsiteX0" fmla="*/ 146047 w 754383"/>
              <a:gd name="connsiteY0" fmla="*/ 1054099 h 1249362"/>
              <a:gd name="connsiteX1" fmla="*/ 595723 w 754383"/>
              <a:gd name="connsiteY1" fmla="*/ 1054099 h 1249362"/>
              <a:gd name="connsiteX2" fmla="*/ 600006 w 754383"/>
              <a:gd name="connsiteY2" fmla="*/ 1057675 h 1249362"/>
              <a:gd name="connsiteX3" fmla="*/ 738478 w 754383"/>
              <a:gd name="connsiteY3" fmla="*/ 1225044 h 1249362"/>
              <a:gd name="connsiteX4" fmla="*/ 727057 w 754383"/>
              <a:gd name="connsiteY4" fmla="*/ 1249362 h 1249362"/>
              <a:gd name="connsiteX5" fmla="*/ 14713 w 754383"/>
              <a:gd name="connsiteY5" fmla="*/ 1249362 h 1249362"/>
              <a:gd name="connsiteX6" fmla="*/ 3292 w 754383"/>
              <a:gd name="connsiteY6" fmla="*/ 1225044 h 1249362"/>
              <a:gd name="connsiteX7" fmla="*/ 141764 w 754383"/>
              <a:gd name="connsiteY7" fmla="*/ 1057675 h 1249362"/>
              <a:gd name="connsiteX8" fmla="*/ 146047 w 754383"/>
              <a:gd name="connsiteY8" fmla="*/ 1054099 h 1249362"/>
              <a:gd name="connsiteX9" fmla="*/ 93070 w 754383"/>
              <a:gd name="connsiteY9" fmla="*/ 898524 h 1249362"/>
              <a:gd name="connsiteX10" fmla="*/ 648699 w 754383"/>
              <a:gd name="connsiteY10" fmla="*/ 898524 h 1249362"/>
              <a:gd name="connsiteX11" fmla="*/ 655841 w 754383"/>
              <a:gd name="connsiteY11" fmla="*/ 905682 h 1249362"/>
              <a:gd name="connsiteX12" fmla="*/ 655841 w 754383"/>
              <a:gd name="connsiteY12" fmla="*/ 1015192 h 1249362"/>
              <a:gd name="connsiteX13" fmla="*/ 648699 w 754383"/>
              <a:gd name="connsiteY13" fmla="*/ 1022349 h 1249362"/>
              <a:gd name="connsiteX14" fmla="*/ 93070 w 754383"/>
              <a:gd name="connsiteY14" fmla="*/ 1022349 h 1249362"/>
              <a:gd name="connsiteX15" fmla="*/ 85928 w 754383"/>
              <a:gd name="connsiteY15" fmla="*/ 1015192 h 1249362"/>
              <a:gd name="connsiteX16" fmla="*/ 85928 w 754383"/>
              <a:gd name="connsiteY16" fmla="*/ 905682 h 1249362"/>
              <a:gd name="connsiteX17" fmla="*/ 93070 w 754383"/>
              <a:gd name="connsiteY17" fmla="*/ 898524 h 1249362"/>
              <a:gd name="connsiteX18" fmla="*/ 384014 w 754383"/>
              <a:gd name="connsiteY18" fmla="*/ 0 h 1249362"/>
              <a:gd name="connsiteX19" fmla="*/ 396150 w 754383"/>
              <a:gd name="connsiteY19" fmla="*/ 4277 h 1249362"/>
              <a:gd name="connsiteX20" fmla="*/ 406858 w 754383"/>
              <a:gd name="connsiteY20" fmla="*/ 54174 h 1249362"/>
              <a:gd name="connsiteX21" fmla="*/ 401861 w 754383"/>
              <a:gd name="connsiteY21" fmla="*/ 81260 h 1249362"/>
              <a:gd name="connsiteX22" fmla="*/ 400434 w 754383"/>
              <a:gd name="connsiteY22" fmla="*/ 87676 h 1249362"/>
              <a:gd name="connsiteX23" fmla="*/ 432558 w 754383"/>
              <a:gd name="connsiteY23" fmla="*/ 99793 h 1249362"/>
              <a:gd name="connsiteX24" fmla="*/ 553205 w 754383"/>
              <a:gd name="connsiteY24" fmla="*/ 157531 h 1249362"/>
              <a:gd name="connsiteX25" fmla="*/ 580333 w 754383"/>
              <a:gd name="connsiteY25" fmla="*/ 200299 h 1249362"/>
              <a:gd name="connsiteX26" fmla="*/ 587472 w 754383"/>
              <a:gd name="connsiteY26" fmla="*/ 212417 h 1249362"/>
              <a:gd name="connsiteX27" fmla="*/ 613885 w 754383"/>
              <a:gd name="connsiteY27" fmla="*/ 230950 h 1249362"/>
              <a:gd name="connsiteX28" fmla="*/ 740957 w 754383"/>
              <a:gd name="connsiteY28" fmla="*/ 335733 h 1249362"/>
              <a:gd name="connsiteX29" fmla="*/ 703835 w 754383"/>
              <a:gd name="connsiteY29" fmla="*/ 501817 h 1249362"/>
              <a:gd name="connsiteX30" fmla="*/ 566055 w 754383"/>
              <a:gd name="connsiteY30" fmla="*/ 456910 h 1249362"/>
              <a:gd name="connsiteX31" fmla="*/ 536072 w 754383"/>
              <a:gd name="connsiteY31" fmla="*/ 436239 h 1249362"/>
              <a:gd name="connsiteX32" fmla="*/ 499664 w 754383"/>
              <a:gd name="connsiteY32" fmla="*/ 449069 h 1249362"/>
              <a:gd name="connsiteX33" fmla="*/ 434700 w 754383"/>
              <a:gd name="connsiteY33" fmla="*/ 471879 h 1249362"/>
              <a:gd name="connsiteX34" fmla="*/ 457544 w 754383"/>
              <a:gd name="connsiteY34" fmla="*/ 509658 h 1249362"/>
              <a:gd name="connsiteX35" fmla="*/ 462542 w 754383"/>
              <a:gd name="connsiteY35" fmla="*/ 514648 h 1249362"/>
              <a:gd name="connsiteX36" fmla="*/ 567483 w 754383"/>
              <a:gd name="connsiteY36" fmla="*/ 657209 h 1249362"/>
              <a:gd name="connsiteX37" fmla="*/ 597466 w 754383"/>
              <a:gd name="connsiteY37" fmla="*/ 866775 h 1249362"/>
              <a:gd name="connsiteX38" fmla="*/ 563200 w 754383"/>
              <a:gd name="connsiteY38" fmla="*/ 866775 h 1249362"/>
              <a:gd name="connsiteX39" fmla="*/ 565341 w 754383"/>
              <a:gd name="connsiteY39" fmla="*/ 861073 h 1249362"/>
              <a:gd name="connsiteX40" fmla="*/ 439697 w 754383"/>
              <a:gd name="connsiteY40" fmla="*/ 536032 h 1249362"/>
              <a:gd name="connsiteX41" fmla="*/ 433986 w 754383"/>
              <a:gd name="connsiteY41" fmla="*/ 529617 h 1249362"/>
              <a:gd name="connsiteX42" fmla="*/ 395436 w 754383"/>
              <a:gd name="connsiteY42" fmla="*/ 462613 h 1249362"/>
              <a:gd name="connsiteX43" fmla="*/ 397578 w 754383"/>
              <a:gd name="connsiteY43" fmla="*/ 445505 h 1249362"/>
              <a:gd name="connsiteX44" fmla="*/ 414711 w 754383"/>
              <a:gd name="connsiteY44" fmla="*/ 441229 h 1249362"/>
              <a:gd name="connsiteX45" fmla="*/ 487528 w 754383"/>
              <a:gd name="connsiteY45" fmla="*/ 420557 h 1249362"/>
              <a:gd name="connsiteX46" fmla="*/ 533216 w 754383"/>
              <a:gd name="connsiteY46" fmla="*/ 404875 h 1249362"/>
              <a:gd name="connsiteX47" fmla="*/ 585330 w 754383"/>
              <a:gd name="connsiteY47" fmla="*/ 431962 h 1249362"/>
              <a:gd name="connsiteX48" fmla="*/ 690271 w 754383"/>
              <a:gd name="connsiteY48" fmla="*/ 473305 h 1249362"/>
              <a:gd name="connsiteX49" fmla="*/ 711688 w 754383"/>
              <a:gd name="connsiteY49" fmla="*/ 348563 h 1249362"/>
              <a:gd name="connsiteX50" fmla="*/ 595324 w 754383"/>
              <a:gd name="connsiteY50" fmla="*/ 256611 h 1249362"/>
              <a:gd name="connsiteX51" fmla="*/ 566769 w 754383"/>
              <a:gd name="connsiteY51" fmla="*/ 235227 h 1249362"/>
              <a:gd name="connsiteX52" fmla="*/ 552491 w 754383"/>
              <a:gd name="connsiteY52" fmla="*/ 213843 h 1249362"/>
              <a:gd name="connsiteX53" fmla="*/ 529647 w 754383"/>
              <a:gd name="connsiteY53" fmla="*/ 177489 h 1249362"/>
              <a:gd name="connsiteX54" fmla="*/ 422564 w 754383"/>
              <a:gd name="connsiteY54" fmla="*/ 129731 h 1249362"/>
              <a:gd name="connsiteX55" fmla="*/ 383300 w 754383"/>
              <a:gd name="connsiteY55" fmla="*/ 114762 h 1249362"/>
              <a:gd name="connsiteX56" fmla="*/ 371164 w 754383"/>
              <a:gd name="connsiteY56" fmla="*/ 74132 h 1249362"/>
              <a:gd name="connsiteX57" fmla="*/ 375448 w 754383"/>
              <a:gd name="connsiteY57" fmla="*/ 51322 h 1249362"/>
              <a:gd name="connsiteX58" fmla="*/ 375448 w 754383"/>
              <a:gd name="connsiteY58" fmla="*/ 33502 h 1249362"/>
              <a:gd name="connsiteX59" fmla="*/ 296920 w 754383"/>
              <a:gd name="connsiteY59" fmla="*/ 106921 h 1249362"/>
              <a:gd name="connsiteX60" fmla="*/ 294778 w 754383"/>
              <a:gd name="connsiteY60" fmla="*/ 109773 h 1249362"/>
              <a:gd name="connsiteX61" fmla="*/ 156285 w 754383"/>
              <a:gd name="connsiteY61" fmla="*/ 258750 h 1249362"/>
              <a:gd name="connsiteX62" fmla="*/ 143435 w 754383"/>
              <a:gd name="connsiteY62" fmla="*/ 303657 h 1249362"/>
              <a:gd name="connsiteX63" fmla="*/ 280501 w 754383"/>
              <a:gd name="connsiteY63" fmla="*/ 520350 h 1249362"/>
              <a:gd name="connsiteX64" fmla="*/ 277645 w 754383"/>
              <a:gd name="connsiteY64" fmla="*/ 540309 h 1249362"/>
              <a:gd name="connsiteX65" fmla="*/ 256942 w 754383"/>
              <a:gd name="connsiteY65" fmla="*/ 540309 h 1249362"/>
              <a:gd name="connsiteX66" fmla="*/ 121304 w 754383"/>
              <a:gd name="connsiteY66" fmla="*/ 419844 h 1249362"/>
              <a:gd name="connsiteX67" fmla="*/ 124874 w 754383"/>
              <a:gd name="connsiteY67" fmla="*/ 476869 h 1249362"/>
              <a:gd name="connsiteX68" fmla="*/ 251945 w 754383"/>
              <a:gd name="connsiteY68" fmla="*/ 627272 h 1249362"/>
              <a:gd name="connsiteX69" fmla="*/ 252659 w 754383"/>
              <a:gd name="connsiteY69" fmla="*/ 647943 h 1249362"/>
              <a:gd name="connsiteX70" fmla="*/ 232670 w 754383"/>
              <a:gd name="connsiteY70" fmla="*/ 650794 h 1249362"/>
              <a:gd name="connsiteX71" fmla="*/ 125587 w 754383"/>
              <a:gd name="connsiteY71" fmla="*/ 585929 h 1249362"/>
              <a:gd name="connsiteX72" fmla="*/ 129157 w 754383"/>
              <a:gd name="connsiteY72" fmla="*/ 618718 h 1249362"/>
              <a:gd name="connsiteX73" fmla="*/ 222676 w 754383"/>
              <a:gd name="connsiteY73" fmla="*/ 717085 h 1249362"/>
              <a:gd name="connsiteX74" fmla="*/ 224818 w 754383"/>
              <a:gd name="connsiteY74" fmla="*/ 737044 h 1249362"/>
              <a:gd name="connsiteX75" fmla="*/ 205543 w 754383"/>
              <a:gd name="connsiteY75" fmla="*/ 743459 h 1249362"/>
              <a:gd name="connsiteX76" fmla="*/ 144148 w 754383"/>
              <a:gd name="connsiteY76" fmla="*/ 723501 h 1249362"/>
              <a:gd name="connsiteX77" fmla="*/ 152715 w 754383"/>
              <a:gd name="connsiteY77" fmla="*/ 866775 h 1249362"/>
              <a:gd name="connsiteX78" fmla="*/ 121304 w 754383"/>
              <a:gd name="connsiteY78" fmla="*/ 866775 h 1249362"/>
              <a:gd name="connsiteX79" fmla="*/ 114879 w 754383"/>
              <a:gd name="connsiteY79" fmla="*/ 791930 h 1249362"/>
              <a:gd name="connsiteX80" fmla="*/ 124874 w 754383"/>
              <a:gd name="connsiteY80" fmla="*/ 694276 h 1249362"/>
              <a:gd name="connsiteX81" fmla="*/ 153429 w 754383"/>
              <a:gd name="connsiteY81" fmla="*/ 692850 h 1249362"/>
              <a:gd name="connsiteX82" fmla="*/ 99174 w 754383"/>
              <a:gd name="connsiteY82" fmla="*/ 627272 h 1249362"/>
              <a:gd name="connsiteX83" fmla="*/ 104885 w 754383"/>
              <a:gd name="connsiteY83" fmla="*/ 551714 h 1249362"/>
              <a:gd name="connsiteX84" fmla="*/ 127729 w 754383"/>
              <a:gd name="connsiteY84" fmla="*/ 550288 h 1249362"/>
              <a:gd name="connsiteX85" fmla="*/ 157712 w 754383"/>
              <a:gd name="connsiteY85" fmla="*/ 568108 h 1249362"/>
              <a:gd name="connsiteX86" fmla="*/ 94890 w 754383"/>
              <a:gd name="connsiteY86" fmla="*/ 485423 h 1249362"/>
              <a:gd name="connsiteX87" fmla="*/ 99174 w 754383"/>
              <a:gd name="connsiteY87" fmla="*/ 386342 h 1249362"/>
              <a:gd name="connsiteX88" fmla="*/ 117735 w 754383"/>
              <a:gd name="connsiteY88" fmla="*/ 380640 h 1249362"/>
              <a:gd name="connsiteX89" fmla="*/ 189123 w 754383"/>
              <a:gd name="connsiteY89" fmla="*/ 436239 h 1249362"/>
              <a:gd name="connsiteX90" fmla="*/ 184126 w 754383"/>
              <a:gd name="connsiteY90" fmla="*/ 429111 h 1249362"/>
              <a:gd name="connsiteX91" fmla="*/ 112024 w 754383"/>
              <a:gd name="connsiteY91" fmla="*/ 306508 h 1249362"/>
              <a:gd name="connsiteX92" fmla="*/ 136296 w 754383"/>
              <a:gd name="connsiteY92" fmla="*/ 234514 h 1249362"/>
              <a:gd name="connsiteX93" fmla="*/ 269078 w 754383"/>
              <a:gd name="connsiteY93" fmla="*/ 92665 h 1249362"/>
              <a:gd name="connsiteX94" fmla="*/ 271220 w 754383"/>
              <a:gd name="connsiteY94" fmla="*/ 89101 h 1249362"/>
              <a:gd name="connsiteX95" fmla="*/ 384014 w 754383"/>
              <a:gd name="connsiteY95" fmla="*/ 0 h 1249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754383" h="1249362">
                <a:moveTo>
                  <a:pt x="146047" y="1054099"/>
                </a:moveTo>
                <a:cubicBezTo>
                  <a:pt x="146047" y="1054099"/>
                  <a:pt x="146047" y="1054099"/>
                  <a:pt x="595723" y="1054099"/>
                </a:cubicBezTo>
                <a:cubicBezTo>
                  <a:pt x="597151" y="1055530"/>
                  <a:pt x="598578" y="1056245"/>
                  <a:pt x="600006" y="1057675"/>
                </a:cubicBezTo>
                <a:cubicBezTo>
                  <a:pt x="600006" y="1057675"/>
                  <a:pt x="600006" y="1057675"/>
                  <a:pt x="738478" y="1225044"/>
                </a:cubicBezTo>
                <a:cubicBezTo>
                  <a:pt x="746329" y="1234342"/>
                  <a:pt x="739192" y="1249362"/>
                  <a:pt x="727057" y="1249362"/>
                </a:cubicBezTo>
                <a:cubicBezTo>
                  <a:pt x="727057" y="1249362"/>
                  <a:pt x="727057" y="1249362"/>
                  <a:pt x="14713" y="1249362"/>
                </a:cubicBezTo>
                <a:cubicBezTo>
                  <a:pt x="2578" y="1249362"/>
                  <a:pt x="-4559" y="1234342"/>
                  <a:pt x="3292" y="1225044"/>
                </a:cubicBezTo>
                <a:cubicBezTo>
                  <a:pt x="3292" y="1225044"/>
                  <a:pt x="3292" y="1225044"/>
                  <a:pt x="141764" y="1057675"/>
                </a:cubicBezTo>
                <a:cubicBezTo>
                  <a:pt x="143192" y="1056245"/>
                  <a:pt x="144620" y="1055530"/>
                  <a:pt x="146047" y="1054099"/>
                </a:cubicBezTo>
                <a:close/>
                <a:moveTo>
                  <a:pt x="93070" y="898524"/>
                </a:moveTo>
                <a:cubicBezTo>
                  <a:pt x="93070" y="898524"/>
                  <a:pt x="93070" y="898524"/>
                  <a:pt x="648699" y="898524"/>
                </a:cubicBezTo>
                <a:cubicBezTo>
                  <a:pt x="652270" y="898524"/>
                  <a:pt x="655841" y="902103"/>
                  <a:pt x="655841" y="905682"/>
                </a:cubicBezTo>
                <a:cubicBezTo>
                  <a:pt x="655841" y="905682"/>
                  <a:pt x="655841" y="905682"/>
                  <a:pt x="655841" y="1015192"/>
                </a:cubicBezTo>
                <a:cubicBezTo>
                  <a:pt x="655841" y="1019486"/>
                  <a:pt x="652270" y="1022349"/>
                  <a:pt x="648699" y="1022349"/>
                </a:cubicBezTo>
                <a:cubicBezTo>
                  <a:pt x="648699" y="1022349"/>
                  <a:pt x="648699" y="1022349"/>
                  <a:pt x="93070" y="1022349"/>
                </a:cubicBezTo>
                <a:cubicBezTo>
                  <a:pt x="89499" y="1022349"/>
                  <a:pt x="85928" y="1019486"/>
                  <a:pt x="85928" y="1015192"/>
                </a:cubicBezTo>
                <a:cubicBezTo>
                  <a:pt x="85928" y="1015192"/>
                  <a:pt x="85928" y="1015192"/>
                  <a:pt x="85928" y="905682"/>
                </a:cubicBezTo>
                <a:cubicBezTo>
                  <a:pt x="85928" y="902103"/>
                  <a:pt x="89499" y="898524"/>
                  <a:pt x="93070" y="898524"/>
                </a:cubicBezTo>
                <a:close/>
                <a:moveTo>
                  <a:pt x="384014" y="0"/>
                </a:moveTo>
                <a:cubicBezTo>
                  <a:pt x="388297" y="0"/>
                  <a:pt x="392581" y="1426"/>
                  <a:pt x="396150" y="4277"/>
                </a:cubicBezTo>
                <a:cubicBezTo>
                  <a:pt x="400434" y="7841"/>
                  <a:pt x="409714" y="19959"/>
                  <a:pt x="406858" y="54174"/>
                </a:cubicBezTo>
                <a:cubicBezTo>
                  <a:pt x="405431" y="66291"/>
                  <a:pt x="403289" y="74845"/>
                  <a:pt x="401861" y="81260"/>
                </a:cubicBezTo>
                <a:cubicBezTo>
                  <a:pt x="401147" y="83399"/>
                  <a:pt x="400434" y="86250"/>
                  <a:pt x="400434" y="87676"/>
                </a:cubicBezTo>
                <a:cubicBezTo>
                  <a:pt x="404003" y="89814"/>
                  <a:pt x="418995" y="95516"/>
                  <a:pt x="432558" y="99793"/>
                </a:cubicBezTo>
                <a:cubicBezTo>
                  <a:pt x="488242" y="119039"/>
                  <a:pt x="536072" y="136147"/>
                  <a:pt x="553205" y="157531"/>
                </a:cubicBezTo>
                <a:cubicBezTo>
                  <a:pt x="568197" y="175351"/>
                  <a:pt x="575336" y="189607"/>
                  <a:pt x="580333" y="200299"/>
                </a:cubicBezTo>
                <a:cubicBezTo>
                  <a:pt x="583188" y="205289"/>
                  <a:pt x="585330" y="210279"/>
                  <a:pt x="587472" y="212417"/>
                </a:cubicBezTo>
                <a:cubicBezTo>
                  <a:pt x="589613" y="214555"/>
                  <a:pt x="601749" y="223109"/>
                  <a:pt x="613885" y="230950"/>
                </a:cubicBezTo>
                <a:cubicBezTo>
                  <a:pt x="690271" y="285123"/>
                  <a:pt x="733104" y="317913"/>
                  <a:pt x="740957" y="335733"/>
                </a:cubicBezTo>
                <a:cubicBezTo>
                  <a:pt x="751665" y="362107"/>
                  <a:pt x="778079" y="466890"/>
                  <a:pt x="703835" y="501817"/>
                </a:cubicBezTo>
                <a:cubicBezTo>
                  <a:pt x="654577" y="525340"/>
                  <a:pt x="601035" y="483997"/>
                  <a:pt x="566055" y="456910"/>
                </a:cubicBezTo>
                <a:cubicBezTo>
                  <a:pt x="555347" y="448357"/>
                  <a:pt x="541069" y="437664"/>
                  <a:pt x="536072" y="436239"/>
                </a:cubicBezTo>
                <a:cubicBezTo>
                  <a:pt x="528933" y="437664"/>
                  <a:pt x="513228" y="443367"/>
                  <a:pt x="499664" y="449069"/>
                </a:cubicBezTo>
                <a:cubicBezTo>
                  <a:pt x="473964" y="459762"/>
                  <a:pt x="452547" y="468315"/>
                  <a:pt x="434700" y="471879"/>
                </a:cubicBezTo>
                <a:cubicBezTo>
                  <a:pt x="441839" y="485423"/>
                  <a:pt x="451119" y="501104"/>
                  <a:pt x="457544" y="509658"/>
                </a:cubicBezTo>
                <a:cubicBezTo>
                  <a:pt x="458972" y="510371"/>
                  <a:pt x="460400" y="512509"/>
                  <a:pt x="462542" y="514648"/>
                </a:cubicBezTo>
                <a:cubicBezTo>
                  <a:pt x="479675" y="533181"/>
                  <a:pt x="530361" y="589493"/>
                  <a:pt x="567483" y="657209"/>
                </a:cubicBezTo>
                <a:cubicBezTo>
                  <a:pt x="613885" y="739895"/>
                  <a:pt x="623880" y="810463"/>
                  <a:pt x="597466" y="866775"/>
                </a:cubicBezTo>
                <a:cubicBezTo>
                  <a:pt x="597466" y="866775"/>
                  <a:pt x="597466" y="866775"/>
                  <a:pt x="563200" y="866775"/>
                </a:cubicBezTo>
                <a:cubicBezTo>
                  <a:pt x="563200" y="864637"/>
                  <a:pt x="563913" y="863211"/>
                  <a:pt x="565341" y="861073"/>
                </a:cubicBezTo>
                <a:cubicBezTo>
                  <a:pt x="606747" y="786941"/>
                  <a:pt x="561772" y="671466"/>
                  <a:pt x="439697" y="536032"/>
                </a:cubicBezTo>
                <a:cubicBezTo>
                  <a:pt x="436842" y="533181"/>
                  <a:pt x="434700" y="531042"/>
                  <a:pt x="433986" y="529617"/>
                </a:cubicBezTo>
                <a:cubicBezTo>
                  <a:pt x="417567" y="510371"/>
                  <a:pt x="397578" y="467602"/>
                  <a:pt x="395436" y="462613"/>
                </a:cubicBezTo>
                <a:cubicBezTo>
                  <a:pt x="392581" y="456910"/>
                  <a:pt x="393295" y="449782"/>
                  <a:pt x="397578" y="445505"/>
                </a:cubicBezTo>
                <a:cubicBezTo>
                  <a:pt x="401861" y="440516"/>
                  <a:pt x="409000" y="439090"/>
                  <a:pt x="414711" y="441229"/>
                </a:cubicBezTo>
                <a:cubicBezTo>
                  <a:pt x="426133" y="445505"/>
                  <a:pt x="466111" y="429111"/>
                  <a:pt x="487528" y="420557"/>
                </a:cubicBezTo>
                <a:cubicBezTo>
                  <a:pt x="506803" y="412716"/>
                  <a:pt x="522508" y="406301"/>
                  <a:pt x="533216" y="404875"/>
                </a:cubicBezTo>
                <a:cubicBezTo>
                  <a:pt x="547494" y="403450"/>
                  <a:pt x="562486" y="414855"/>
                  <a:pt x="585330" y="431962"/>
                </a:cubicBezTo>
                <a:cubicBezTo>
                  <a:pt x="616027" y="455485"/>
                  <a:pt x="658860" y="488274"/>
                  <a:pt x="690271" y="473305"/>
                </a:cubicBezTo>
                <a:cubicBezTo>
                  <a:pt x="741671" y="449782"/>
                  <a:pt x="718827" y="364245"/>
                  <a:pt x="711688" y="348563"/>
                </a:cubicBezTo>
                <a:cubicBezTo>
                  <a:pt x="704549" y="333594"/>
                  <a:pt x="625308" y="277995"/>
                  <a:pt x="595324" y="256611"/>
                </a:cubicBezTo>
                <a:cubicBezTo>
                  <a:pt x="577477" y="244493"/>
                  <a:pt x="569625" y="238791"/>
                  <a:pt x="566769" y="235227"/>
                </a:cubicBezTo>
                <a:cubicBezTo>
                  <a:pt x="559630" y="229524"/>
                  <a:pt x="556061" y="222396"/>
                  <a:pt x="552491" y="213843"/>
                </a:cubicBezTo>
                <a:cubicBezTo>
                  <a:pt x="547494" y="203863"/>
                  <a:pt x="541783" y="192458"/>
                  <a:pt x="529647" y="177489"/>
                </a:cubicBezTo>
                <a:cubicBezTo>
                  <a:pt x="516083" y="161808"/>
                  <a:pt x="455403" y="140423"/>
                  <a:pt x="422564" y="129731"/>
                </a:cubicBezTo>
                <a:cubicBezTo>
                  <a:pt x="400434" y="121890"/>
                  <a:pt x="389011" y="118326"/>
                  <a:pt x="383300" y="114762"/>
                </a:cubicBezTo>
                <a:cubicBezTo>
                  <a:pt x="364025" y="102645"/>
                  <a:pt x="368309" y="86250"/>
                  <a:pt x="371164" y="74132"/>
                </a:cubicBezTo>
                <a:cubicBezTo>
                  <a:pt x="372592" y="67717"/>
                  <a:pt x="374734" y="60589"/>
                  <a:pt x="375448" y="51322"/>
                </a:cubicBezTo>
                <a:cubicBezTo>
                  <a:pt x="376161" y="43481"/>
                  <a:pt x="376161" y="37779"/>
                  <a:pt x="375448" y="33502"/>
                </a:cubicBezTo>
                <a:cubicBezTo>
                  <a:pt x="339039" y="44907"/>
                  <a:pt x="308342" y="90527"/>
                  <a:pt x="296920" y="106921"/>
                </a:cubicBezTo>
                <a:cubicBezTo>
                  <a:pt x="296920" y="106921"/>
                  <a:pt x="296920" y="106921"/>
                  <a:pt x="294778" y="109773"/>
                </a:cubicBezTo>
                <a:cubicBezTo>
                  <a:pt x="281928" y="129018"/>
                  <a:pt x="171990" y="245919"/>
                  <a:pt x="156285" y="258750"/>
                </a:cubicBezTo>
                <a:cubicBezTo>
                  <a:pt x="149146" y="264452"/>
                  <a:pt x="144148" y="288688"/>
                  <a:pt x="143435" y="303657"/>
                </a:cubicBezTo>
                <a:cubicBezTo>
                  <a:pt x="154143" y="324328"/>
                  <a:pt x="231956" y="445505"/>
                  <a:pt x="280501" y="520350"/>
                </a:cubicBezTo>
                <a:cubicBezTo>
                  <a:pt x="284784" y="526766"/>
                  <a:pt x="283356" y="535319"/>
                  <a:pt x="277645" y="540309"/>
                </a:cubicBezTo>
                <a:cubicBezTo>
                  <a:pt x="271220" y="546011"/>
                  <a:pt x="262654" y="545299"/>
                  <a:pt x="256942" y="540309"/>
                </a:cubicBezTo>
                <a:cubicBezTo>
                  <a:pt x="204829" y="491838"/>
                  <a:pt x="147004" y="440516"/>
                  <a:pt x="121304" y="419844"/>
                </a:cubicBezTo>
                <a:cubicBezTo>
                  <a:pt x="119876" y="436952"/>
                  <a:pt x="121304" y="464751"/>
                  <a:pt x="124874" y="476869"/>
                </a:cubicBezTo>
                <a:cubicBezTo>
                  <a:pt x="130585" y="490412"/>
                  <a:pt x="194120" y="563832"/>
                  <a:pt x="251945" y="627272"/>
                </a:cubicBezTo>
                <a:cubicBezTo>
                  <a:pt x="257656" y="632974"/>
                  <a:pt x="257656" y="641528"/>
                  <a:pt x="252659" y="647943"/>
                </a:cubicBezTo>
                <a:cubicBezTo>
                  <a:pt x="247662" y="653645"/>
                  <a:pt x="239095" y="655071"/>
                  <a:pt x="232670" y="650794"/>
                </a:cubicBezTo>
                <a:cubicBezTo>
                  <a:pt x="231243" y="650794"/>
                  <a:pt x="157712" y="605174"/>
                  <a:pt x="125587" y="585929"/>
                </a:cubicBezTo>
                <a:cubicBezTo>
                  <a:pt x="125587" y="595908"/>
                  <a:pt x="127015" y="610164"/>
                  <a:pt x="129157" y="618718"/>
                </a:cubicBezTo>
                <a:cubicBezTo>
                  <a:pt x="134868" y="629410"/>
                  <a:pt x="181984" y="677881"/>
                  <a:pt x="222676" y="717085"/>
                </a:cubicBezTo>
                <a:cubicBezTo>
                  <a:pt x="228387" y="722788"/>
                  <a:pt x="229101" y="730629"/>
                  <a:pt x="224818" y="737044"/>
                </a:cubicBezTo>
                <a:cubicBezTo>
                  <a:pt x="220534" y="743459"/>
                  <a:pt x="212682" y="746311"/>
                  <a:pt x="205543" y="743459"/>
                </a:cubicBezTo>
                <a:cubicBezTo>
                  <a:pt x="181984" y="733480"/>
                  <a:pt x="156998" y="725639"/>
                  <a:pt x="144148" y="723501"/>
                </a:cubicBezTo>
                <a:cubicBezTo>
                  <a:pt x="142721" y="746311"/>
                  <a:pt x="147004" y="811889"/>
                  <a:pt x="152715" y="866775"/>
                </a:cubicBezTo>
                <a:cubicBezTo>
                  <a:pt x="152715" y="866775"/>
                  <a:pt x="152715" y="866775"/>
                  <a:pt x="121304" y="866775"/>
                </a:cubicBezTo>
                <a:cubicBezTo>
                  <a:pt x="119876" y="856796"/>
                  <a:pt x="117021" y="824007"/>
                  <a:pt x="114879" y="791930"/>
                </a:cubicBezTo>
                <a:cubicBezTo>
                  <a:pt x="109168" y="707106"/>
                  <a:pt x="114879" y="699265"/>
                  <a:pt x="124874" y="694276"/>
                </a:cubicBezTo>
                <a:cubicBezTo>
                  <a:pt x="127729" y="692137"/>
                  <a:pt x="134154" y="689286"/>
                  <a:pt x="153429" y="692850"/>
                </a:cubicBezTo>
                <a:cubicBezTo>
                  <a:pt x="125587" y="664338"/>
                  <a:pt x="102029" y="638676"/>
                  <a:pt x="99174" y="627272"/>
                </a:cubicBezTo>
                <a:cubicBezTo>
                  <a:pt x="99174" y="626559"/>
                  <a:pt x="84182" y="567396"/>
                  <a:pt x="104885" y="551714"/>
                </a:cubicBezTo>
                <a:cubicBezTo>
                  <a:pt x="111310" y="546724"/>
                  <a:pt x="119876" y="546011"/>
                  <a:pt x="127729" y="550288"/>
                </a:cubicBezTo>
                <a:cubicBezTo>
                  <a:pt x="132012" y="553139"/>
                  <a:pt x="143435" y="559555"/>
                  <a:pt x="157712" y="568108"/>
                </a:cubicBezTo>
                <a:cubicBezTo>
                  <a:pt x="125587" y="531755"/>
                  <a:pt x="97746" y="497540"/>
                  <a:pt x="94890" y="485423"/>
                </a:cubicBezTo>
                <a:cubicBezTo>
                  <a:pt x="91321" y="473305"/>
                  <a:pt x="82754" y="404162"/>
                  <a:pt x="99174" y="386342"/>
                </a:cubicBezTo>
                <a:cubicBezTo>
                  <a:pt x="104171" y="381353"/>
                  <a:pt x="111310" y="379214"/>
                  <a:pt x="117735" y="380640"/>
                </a:cubicBezTo>
                <a:cubicBezTo>
                  <a:pt x="122732" y="381353"/>
                  <a:pt x="128443" y="382778"/>
                  <a:pt x="189123" y="436239"/>
                </a:cubicBezTo>
                <a:cubicBezTo>
                  <a:pt x="187695" y="434100"/>
                  <a:pt x="186268" y="431249"/>
                  <a:pt x="184126" y="429111"/>
                </a:cubicBezTo>
                <a:cubicBezTo>
                  <a:pt x="112024" y="316487"/>
                  <a:pt x="112024" y="312923"/>
                  <a:pt x="112024" y="306508"/>
                </a:cubicBezTo>
                <a:cubicBezTo>
                  <a:pt x="112024" y="306508"/>
                  <a:pt x="112737" y="253760"/>
                  <a:pt x="136296" y="234514"/>
                </a:cubicBezTo>
                <a:cubicBezTo>
                  <a:pt x="152001" y="221684"/>
                  <a:pt x="258370" y="106921"/>
                  <a:pt x="269078" y="92665"/>
                </a:cubicBezTo>
                <a:cubicBezTo>
                  <a:pt x="269078" y="92665"/>
                  <a:pt x="269078" y="92665"/>
                  <a:pt x="271220" y="89101"/>
                </a:cubicBezTo>
                <a:cubicBezTo>
                  <a:pt x="286926" y="66291"/>
                  <a:pt x="327617" y="4990"/>
                  <a:pt x="384014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47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 Strategic Plannin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4412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19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Sourcing process was redesigned considering identified optimization opportunities in diagnosis</a:t>
            </a:r>
          </a:p>
        </p:txBody>
      </p:sp>
      <p:sp>
        <p:nvSpPr>
          <p:cNvPr id="5" name="Rectangle 4"/>
          <p:cNvSpPr/>
          <p:nvPr/>
        </p:nvSpPr>
        <p:spPr>
          <a:xfrm>
            <a:off x="629399" y="2417845"/>
            <a:ext cx="5918545" cy="386634"/>
          </a:xfrm>
          <a:prstGeom prst="rect">
            <a:avLst/>
          </a:prstGeom>
          <a:noFill/>
          <a:ln cap="rnd">
            <a:noFill/>
          </a:ln>
          <a:extLst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Optimization opportunities &amp; impact on efficiency</a:t>
            </a:r>
          </a:p>
        </p:txBody>
      </p:sp>
      <p:sp>
        <p:nvSpPr>
          <p:cNvPr id="7" name="Rectangle 6"/>
          <p:cNvSpPr/>
          <p:nvPr/>
        </p:nvSpPr>
        <p:spPr>
          <a:xfrm>
            <a:off x="7506010" y="2417845"/>
            <a:ext cx="3125941" cy="336331"/>
          </a:xfrm>
          <a:prstGeom prst="rect">
            <a:avLst/>
          </a:prstGeom>
          <a:noFill/>
          <a:ln cap="rnd">
            <a:noFill/>
          </a:ln>
          <a:extLst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Change to process</a:t>
            </a:r>
          </a:p>
        </p:txBody>
      </p:sp>
      <p:sp>
        <p:nvSpPr>
          <p:cNvPr id="21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ource:  SCM Frontera; team analysi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29400" y="3066893"/>
            <a:ext cx="2902076" cy="5488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Unsystematic and cumbersome definition of scope and technical specification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702719" y="3066893"/>
            <a:ext cx="3125941" cy="5488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456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oor scope definition increases sourcing lead times and generates over costs in contract rat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506010" y="3127387"/>
            <a:ext cx="4057189" cy="5488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chemeClr val="tx1"/>
                </a:solidFill>
              </a:rPr>
              <a:t>Anticipate planning activities and institute vendor prequalification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6860425" y="3187851"/>
            <a:ext cx="306910" cy="306910"/>
            <a:chOff x="982662" y="1847850"/>
            <a:chExt cx="269875" cy="269875"/>
          </a:xfrm>
        </p:grpSpPr>
        <p:sp>
          <p:nvSpPr>
            <p:cNvPr id="2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629400" y="3777080"/>
            <a:ext cx="2902076" cy="5940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Sourcing process not differentiated by purchase amounts or local vendor conten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02719" y="3777081"/>
            <a:ext cx="3125941" cy="5940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456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ourcing time and costs greater than generated benefits</a:t>
            </a:r>
          </a:p>
          <a:p>
            <a:pPr marL="219456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ub-optimal local vendor contracting</a:t>
            </a:r>
          </a:p>
          <a:p>
            <a:pPr marL="219456" lvl="1" indent="-129600">
              <a:buClr>
                <a:srgbClr val="7F7F7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506010" y="3777080"/>
            <a:ext cx="4057189" cy="5940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chemeClr val="tx1"/>
                </a:solidFill>
              </a:rPr>
              <a:t>Differentiated processes and lead times depending on purchase amounts and category characteristics with specific activities for local vendor sourcing</a:t>
            </a:r>
          </a:p>
        </p:txBody>
      </p:sp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6860425" y="3920673"/>
            <a:ext cx="306910" cy="306910"/>
            <a:chOff x="982662" y="1847850"/>
            <a:chExt cx="269875" cy="269875"/>
          </a:xfrm>
        </p:grpSpPr>
        <p:sp>
          <p:nvSpPr>
            <p:cNvPr id="26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629400" y="4532537"/>
            <a:ext cx="2902076" cy="5675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Lengthy bureaucratic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control mechanism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02719" y="4532539"/>
            <a:ext cx="3125941" cy="5675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456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ime spent preparing documents for committees increases sourcing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lead tim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506010" y="4593033"/>
            <a:ext cx="4057189" cy="5675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chemeClr val="tx1"/>
                </a:solidFill>
              </a:rPr>
              <a:t>Tiered evaluation and control mechanisms based on category criticality and spend</a:t>
            </a:r>
          </a:p>
        </p:txBody>
      </p: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6860425" y="4662872"/>
            <a:ext cx="306910" cy="306910"/>
            <a:chOff x="982662" y="1847850"/>
            <a:chExt cx="269875" cy="269875"/>
          </a:xfrm>
        </p:grpSpPr>
        <p:sp>
          <p:nvSpPr>
            <p:cNvPr id="29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629400" y="5261477"/>
            <a:ext cx="2902076" cy="9253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Compartmentalized evaluation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f proposals</a:t>
            </a:r>
          </a:p>
        </p:txBody>
      </p:sp>
      <p:sp>
        <p:nvSpPr>
          <p:cNvPr id="9" name="Rectangle 8"/>
          <p:cNvSpPr/>
          <p:nvPr/>
        </p:nvSpPr>
        <p:spPr>
          <a:xfrm>
            <a:off x="3702719" y="5261477"/>
            <a:ext cx="3125941" cy="9253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456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equential evaluation increases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sourcing time</a:t>
            </a:r>
          </a:p>
          <a:p>
            <a:pPr marL="219456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spc="-10" dirty="0">
                <a:solidFill>
                  <a:schemeClr val="tx1"/>
                </a:solidFill>
              </a:rPr>
              <a:t>Compartmentalized evaluation limits negotiation and the ability to optimize results based on total value</a:t>
            </a:r>
          </a:p>
        </p:txBody>
      </p:sp>
      <p:sp>
        <p:nvSpPr>
          <p:cNvPr id="10" name="Rectangle 9"/>
          <p:cNvSpPr/>
          <p:nvPr/>
        </p:nvSpPr>
        <p:spPr>
          <a:xfrm>
            <a:off x="7506010" y="5321971"/>
            <a:ext cx="4057189" cy="9253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Parallel economic and technical evaluation using Total Cost of Ownership analysis </a:t>
            </a:r>
          </a:p>
        </p:txBody>
      </p: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6860425" y="5570689"/>
            <a:ext cx="306910" cy="306910"/>
            <a:chOff x="982662" y="1847850"/>
            <a:chExt cx="269875" cy="269875"/>
          </a:xfrm>
        </p:grpSpPr>
        <p:sp>
          <p:nvSpPr>
            <p:cNvPr id="32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 41"/>
          <p:cNvGrpSpPr>
            <a:grpSpLocks noChangeAspect="1"/>
          </p:cNvGrpSpPr>
          <p:nvPr/>
        </p:nvGrpSpPr>
        <p:grpSpPr>
          <a:xfrm>
            <a:off x="593157" y="1575286"/>
            <a:ext cx="1018079" cy="1019022"/>
            <a:chOff x="5273801" y="2606040"/>
            <a:chExt cx="1644396" cy="1645920"/>
          </a:xfrm>
        </p:grpSpPr>
        <p:sp>
          <p:nvSpPr>
            <p:cNvPr id="43" name="AutoShape 23">
              <a:extLst>
                <a:ext uri="{FF2B5EF4-FFF2-40B4-BE49-F238E27FC236}">
                  <a16:creationId xmlns:a16="http://schemas.microsoft.com/office/drawing/2014/main" id="{21145B1E-CDCB-4DD6-B1E9-AD669D7521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5343905" y="2928366"/>
              <a:ext cx="1505712" cy="995553"/>
              <a:chOff x="5343905" y="2928366"/>
              <a:chExt cx="1505712" cy="995553"/>
            </a:xfrm>
          </p:grpSpPr>
          <p:sp>
            <p:nvSpPr>
              <p:cNvPr id="45" name="Freeform 25">
                <a:extLst>
                  <a:ext uri="{FF2B5EF4-FFF2-40B4-BE49-F238E27FC236}">
                    <a16:creationId xmlns:a16="http://schemas.microsoft.com/office/drawing/2014/main" id="{9F947C49-F917-4AD1-B35C-097F99CCE4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6330" y="2928366"/>
                <a:ext cx="1153287" cy="654177"/>
              </a:xfrm>
              <a:custGeom>
                <a:avLst/>
                <a:gdLst>
                  <a:gd name="T0" fmla="*/ 1610 w 1616"/>
                  <a:gd name="T1" fmla="*/ 362 h 916"/>
                  <a:gd name="T2" fmla="*/ 1552 w 1616"/>
                  <a:gd name="T3" fmla="*/ 327 h 916"/>
                  <a:gd name="T4" fmla="*/ 1530 w 1616"/>
                  <a:gd name="T5" fmla="*/ 261 h 916"/>
                  <a:gd name="T6" fmla="*/ 1495 w 1616"/>
                  <a:gd name="T7" fmla="*/ 196 h 916"/>
                  <a:gd name="T8" fmla="*/ 1508 w 1616"/>
                  <a:gd name="T9" fmla="*/ 130 h 916"/>
                  <a:gd name="T10" fmla="*/ 1369 w 1616"/>
                  <a:gd name="T11" fmla="*/ 28 h 916"/>
                  <a:gd name="T12" fmla="*/ 1309 w 1616"/>
                  <a:gd name="T13" fmla="*/ 62 h 916"/>
                  <a:gd name="T14" fmla="*/ 1178 w 1616"/>
                  <a:gd name="T15" fmla="*/ 47 h 916"/>
                  <a:gd name="T16" fmla="*/ 1127 w 1616"/>
                  <a:gd name="T17" fmla="*/ 0 h 916"/>
                  <a:gd name="T18" fmla="*/ 1043 w 1616"/>
                  <a:gd name="T19" fmla="*/ 26 h 916"/>
                  <a:gd name="T20" fmla="*/ 967 w 1616"/>
                  <a:gd name="T21" fmla="*/ 69 h 916"/>
                  <a:gd name="T22" fmla="*/ 967 w 1616"/>
                  <a:gd name="T23" fmla="*/ 140 h 916"/>
                  <a:gd name="T24" fmla="*/ 886 w 1616"/>
                  <a:gd name="T25" fmla="*/ 246 h 916"/>
                  <a:gd name="T26" fmla="*/ 821 w 1616"/>
                  <a:gd name="T27" fmla="*/ 267 h 916"/>
                  <a:gd name="T28" fmla="*/ 798 w 1616"/>
                  <a:gd name="T29" fmla="*/ 441 h 916"/>
                  <a:gd name="T30" fmla="*/ 856 w 1616"/>
                  <a:gd name="T31" fmla="*/ 475 h 916"/>
                  <a:gd name="T32" fmla="*/ 879 w 1616"/>
                  <a:gd name="T33" fmla="*/ 546 h 916"/>
                  <a:gd name="T34" fmla="*/ 912 w 1616"/>
                  <a:gd name="T35" fmla="*/ 607 h 916"/>
                  <a:gd name="T36" fmla="*/ 896 w 1616"/>
                  <a:gd name="T37" fmla="*/ 673 h 916"/>
                  <a:gd name="T38" fmla="*/ 1031 w 1616"/>
                  <a:gd name="T39" fmla="*/ 777 h 916"/>
                  <a:gd name="T40" fmla="*/ 1089 w 1616"/>
                  <a:gd name="T41" fmla="*/ 743 h 916"/>
                  <a:gd name="T42" fmla="*/ 1236 w 1616"/>
                  <a:gd name="T43" fmla="*/ 762 h 916"/>
                  <a:gd name="T44" fmla="*/ 1287 w 1616"/>
                  <a:gd name="T45" fmla="*/ 808 h 916"/>
                  <a:gd name="T46" fmla="*/ 1366 w 1616"/>
                  <a:gd name="T47" fmla="*/ 783 h 916"/>
                  <a:gd name="T48" fmla="*/ 1440 w 1616"/>
                  <a:gd name="T49" fmla="*/ 741 h 916"/>
                  <a:gd name="T50" fmla="*/ 1440 w 1616"/>
                  <a:gd name="T51" fmla="*/ 673 h 916"/>
                  <a:gd name="T52" fmla="*/ 1528 w 1616"/>
                  <a:gd name="T53" fmla="*/ 552 h 916"/>
                  <a:gd name="T54" fmla="*/ 1591 w 1616"/>
                  <a:gd name="T55" fmla="*/ 532 h 916"/>
                  <a:gd name="T56" fmla="*/ 1610 w 1616"/>
                  <a:gd name="T57" fmla="*/ 362 h 916"/>
                  <a:gd name="T58" fmla="*/ 1276 w 1616"/>
                  <a:gd name="T59" fmla="*/ 569 h 916"/>
                  <a:gd name="T60" fmla="*/ 1041 w 1616"/>
                  <a:gd name="T61" fmla="*/ 475 h 916"/>
                  <a:gd name="T62" fmla="*/ 1133 w 1616"/>
                  <a:gd name="T63" fmla="*/ 239 h 916"/>
                  <a:gd name="T64" fmla="*/ 1367 w 1616"/>
                  <a:gd name="T65" fmla="*/ 333 h 916"/>
                  <a:gd name="T66" fmla="*/ 1276 w 1616"/>
                  <a:gd name="T67" fmla="*/ 569 h 916"/>
                  <a:gd name="T68" fmla="*/ 187 w 1616"/>
                  <a:gd name="T69" fmla="*/ 916 h 916"/>
                  <a:gd name="T70" fmla="*/ 0 w 1616"/>
                  <a:gd name="T71" fmla="*/ 729 h 916"/>
                  <a:gd name="T72" fmla="*/ 187 w 1616"/>
                  <a:gd name="T73" fmla="*/ 541 h 916"/>
                  <a:gd name="T74" fmla="*/ 375 w 1616"/>
                  <a:gd name="T75" fmla="*/ 729 h 916"/>
                  <a:gd name="T76" fmla="*/ 187 w 1616"/>
                  <a:gd name="T77" fmla="*/ 916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16" h="916">
                    <a:moveTo>
                      <a:pt x="1610" y="362"/>
                    </a:moveTo>
                    <a:cubicBezTo>
                      <a:pt x="1552" y="327"/>
                      <a:pt x="1552" y="327"/>
                      <a:pt x="1552" y="327"/>
                    </a:cubicBezTo>
                    <a:cubicBezTo>
                      <a:pt x="1547" y="305"/>
                      <a:pt x="1539" y="283"/>
                      <a:pt x="1530" y="261"/>
                    </a:cubicBezTo>
                    <a:cubicBezTo>
                      <a:pt x="1521" y="239"/>
                      <a:pt x="1508" y="217"/>
                      <a:pt x="1495" y="196"/>
                    </a:cubicBezTo>
                    <a:cubicBezTo>
                      <a:pt x="1508" y="130"/>
                      <a:pt x="1508" y="130"/>
                      <a:pt x="1508" y="130"/>
                    </a:cubicBezTo>
                    <a:cubicBezTo>
                      <a:pt x="1470" y="87"/>
                      <a:pt x="1421" y="51"/>
                      <a:pt x="1369" y="28"/>
                    </a:cubicBezTo>
                    <a:cubicBezTo>
                      <a:pt x="1309" y="62"/>
                      <a:pt x="1309" y="62"/>
                      <a:pt x="1309" y="62"/>
                    </a:cubicBezTo>
                    <a:cubicBezTo>
                      <a:pt x="1266" y="48"/>
                      <a:pt x="1223" y="43"/>
                      <a:pt x="1178" y="47"/>
                    </a:cubicBezTo>
                    <a:cubicBezTo>
                      <a:pt x="1127" y="0"/>
                      <a:pt x="1127" y="0"/>
                      <a:pt x="1127" y="0"/>
                    </a:cubicBezTo>
                    <a:cubicBezTo>
                      <a:pt x="1099" y="6"/>
                      <a:pt x="1071" y="13"/>
                      <a:pt x="1043" y="26"/>
                    </a:cubicBezTo>
                    <a:cubicBezTo>
                      <a:pt x="1016" y="38"/>
                      <a:pt x="989" y="53"/>
                      <a:pt x="967" y="69"/>
                    </a:cubicBezTo>
                    <a:cubicBezTo>
                      <a:pt x="967" y="140"/>
                      <a:pt x="967" y="140"/>
                      <a:pt x="967" y="140"/>
                    </a:cubicBezTo>
                    <a:cubicBezTo>
                      <a:pt x="933" y="171"/>
                      <a:pt x="905" y="206"/>
                      <a:pt x="886" y="246"/>
                    </a:cubicBezTo>
                    <a:cubicBezTo>
                      <a:pt x="821" y="267"/>
                      <a:pt x="821" y="267"/>
                      <a:pt x="821" y="267"/>
                    </a:cubicBezTo>
                    <a:cubicBezTo>
                      <a:pt x="801" y="321"/>
                      <a:pt x="794" y="380"/>
                      <a:pt x="798" y="441"/>
                    </a:cubicBezTo>
                    <a:cubicBezTo>
                      <a:pt x="856" y="475"/>
                      <a:pt x="856" y="475"/>
                      <a:pt x="856" y="475"/>
                    </a:cubicBezTo>
                    <a:cubicBezTo>
                      <a:pt x="861" y="498"/>
                      <a:pt x="868" y="523"/>
                      <a:pt x="879" y="546"/>
                    </a:cubicBezTo>
                    <a:cubicBezTo>
                      <a:pt x="889" y="567"/>
                      <a:pt x="899" y="588"/>
                      <a:pt x="912" y="607"/>
                    </a:cubicBezTo>
                    <a:cubicBezTo>
                      <a:pt x="896" y="673"/>
                      <a:pt x="896" y="673"/>
                      <a:pt x="896" y="673"/>
                    </a:cubicBezTo>
                    <a:cubicBezTo>
                      <a:pt x="934" y="718"/>
                      <a:pt x="980" y="752"/>
                      <a:pt x="1031" y="777"/>
                    </a:cubicBezTo>
                    <a:cubicBezTo>
                      <a:pt x="1089" y="743"/>
                      <a:pt x="1089" y="743"/>
                      <a:pt x="1089" y="743"/>
                    </a:cubicBezTo>
                    <a:cubicBezTo>
                      <a:pt x="1136" y="760"/>
                      <a:pt x="1185" y="766"/>
                      <a:pt x="1236" y="762"/>
                    </a:cubicBezTo>
                    <a:cubicBezTo>
                      <a:pt x="1287" y="808"/>
                      <a:pt x="1287" y="808"/>
                      <a:pt x="1287" y="808"/>
                    </a:cubicBezTo>
                    <a:cubicBezTo>
                      <a:pt x="1312" y="802"/>
                      <a:pt x="1340" y="794"/>
                      <a:pt x="1366" y="783"/>
                    </a:cubicBezTo>
                    <a:cubicBezTo>
                      <a:pt x="1392" y="771"/>
                      <a:pt x="1416" y="757"/>
                      <a:pt x="1440" y="741"/>
                    </a:cubicBezTo>
                    <a:cubicBezTo>
                      <a:pt x="1440" y="673"/>
                      <a:pt x="1440" y="673"/>
                      <a:pt x="1440" y="673"/>
                    </a:cubicBezTo>
                    <a:cubicBezTo>
                      <a:pt x="1477" y="639"/>
                      <a:pt x="1507" y="597"/>
                      <a:pt x="1528" y="552"/>
                    </a:cubicBezTo>
                    <a:cubicBezTo>
                      <a:pt x="1591" y="532"/>
                      <a:pt x="1591" y="532"/>
                      <a:pt x="1591" y="532"/>
                    </a:cubicBezTo>
                    <a:cubicBezTo>
                      <a:pt x="1610" y="479"/>
                      <a:pt x="1616" y="420"/>
                      <a:pt x="1610" y="362"/>
                    </a:cubicBezTo>
                    <a:close/>
                    <a:moveTo>
                      <a:pt x="1276" y="569"/>
                    </a:moveTo>
                    <a:cubicBezTo>
                      <a:pt x="1185" y="610"/>
                      <a:pt x="1080" y="566"/>
                      <a:pt x="1041" y="475"/>
                    </a:cubicBezTo>
                    <a:cubicBezTo>
                      <a:pt x="1002" y="383"/>
                      <a:pt x="1043" y="278"/>
                      <a:pt x="1133" y="239"/>
                    </a:cubicBezTo>
                    <a:cubicBezTo>
                      <a:pt x="1224" y="199"/>
                      <a:pt x="1330" y="242"/>
                      <a:pt x="1367" y="333"/>
                    </a:cubicBezTo>
                    <a:cubicBezTo>
                      <a:pt x="1407" y="424"/>
                      <a:pt x="1366" y="531"/>
                      <a:pt x="1276" y="569"/>
                    </a:cubicBezTo>
                    <a:close/>
                    <a:moveTo>
                      <a:pt x="187" y="916"/>
                    </a:moveTo>
                    <a:cubicBezTo>
                      <a:pt x="84" y="916"/>
                      <a:pt x="0" y="832"/>
                      <a:pt x="0" y="729"/>
                    </a:cubicBezTo>
                    <a:cubicBezTo>
                      <a:pt x="0" y="625"/>
                      <a:pt x="84" y="541"/>
                      <a:pt x="187" y="541"/>
                    </a:cubicBezTo>
                    <a:cubicBezTo>
                      <a:pt x="291" y="541"/>
                      <a:pt x="375" y="625"/>
                      <a:pt x="375" y="729"/>
                    </a:cubicBezTo>
                    <a:cubicBezTo>
                      <a:pt x="375" y="832"/>
                      <a:pt x="291" y="916"/>
                      <a:pt x="187" y="91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26">
                <a:extLst>
                  <a:ext uri="{FF2B5EF4-FFF2-40B4-BE49-F238E27FC236}">
                    <a16:creationId xmlns:a16="http://schemas.microsoft.com/office/drawing/2014/main" id="{E2588303-321C-498F-B014-B990AEEA7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905" y="2961132"/>
                <a:ext cx="971931" cy="962787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  <a:gd name="T86" fmla="*/ 681 w 1362"/>
                  <a:gd name="T87" fmla="*/ 257 h 1348"/>
                  <a:gd name="T88" fmla="*/ 681 w 1362"/>
                  <a:gd name="T89" fmla="*/ 301 h 1348"/>
                  <a:gd name="T90" fmla="*/ 1063 w 1362"/>
                  <a:gd name="T91" fmla="*/ 683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  <a:moveTo>
                      <a:pt x="681" y="1108"/>
                    </a:moveTo>
                    <a:cubicBezTo>
                      <a:pt x="447" y="1108"/>
                      <a:pt x="256" y="917"/>
                      <a:pt x="256" y="683"/>
                    </a:cubicBezTo>
                    <a:cubicBezTo>
                      <a:pt x="256" y="448"/>
                      <a:pt x="447" y="257"/>
                      <a:pt x="681" y="257"/>
                    </a:cubicBezTo>
                    <a:cubicBezTo>
                      <a:pt x="916" y="257"/>
                      <a:pt x="1107" y="448"/>
                      <a:pt x="1107" y="683"/>
                    </a:cubicBezTo>
                    <a:cubicBezTo>
                      <a:pt x="1107" y="917"/>
                      <a:pt x="916" y="1108"/>
                      <a:pt x="681" y="1108"/>
                    </a:cubicBezTo>
                    <a:close/>
                    <a:moveTo>
                      <a:pt x="681" y="301"/>
                    </a:moveTo>
                    <a:cubicBezTo>
                      <a:pt x="471" y="301"/>
                      <a:pt x="300" y="473"/>
                      <a:pt x="300" y="683"/>
                    </a:cubicBezTo>
                    <a:cubicBezTo>
                      <a:pt x="300" y="893"/>
                      <a:pt x="471" y="1064"/>
                      <a:pt x="681" y="1064"/>
                    </a:cubicBezTo>
                    <a:cubicBezTo>
                      <a:pt x="892" y="1064"/>
                      <a:pt x="1063" y="893"/>
                      <a:pt x="1063" y="683"/>
                    </a:cubicBezTo>
                    <a:cubicBezTo>
                      <a:pt x="1063" y="473"/>
                      <a:pt x="892" y="301"/>
                      <a:pt x="681" y="30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7304735" y="1527719"/>
            <a:ext cx="1019022" cy="1019022"/>
            <a:chOff x="2670175" y="3176"/>
            <a:chExt cx="6858000" cy="6858000"/>
          </a:xfrm>
        </p:grpSpPr>
        <p:sp>
          <p:nvSpPr>
            <p:cNvPr id="52" name="AutoShape 3"/>
            <p:cNvSpPr>
              <a:spLocks noChangeAspect="1" noChangeArrowheads="1" noTextEdit="1"/>
            </p:cNvSpPr>
            <p:nvPr/>
          </p:nvSpPr>
          <p:spPr bwMode="auto">
            <a:xfrm>
              <a:off x="2670175" y="3176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3738563" y="1149351"/>
              <a:ext cx="4721225" cy="4565650"/>
              <a:chOff x="3738563" y="1149350"/>
              <a:chExt cx="4721225" cy="4565651"/>
            </a:xfrm>
          </p:grpSpPr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3738563" y="1149350"/>
                <a:ext cx="4721225" cy="4565651"/>
              </a:xfrm>
              <a:custGeom>
                <a:avLst/>
                <a:gdLst>
                  <a:gd name="connsiteX0" fmla="*/ 3078162 w 4721225"/>
                  <a:gd name="connsiteY0" fmla="*/ 3575050 h 4565651"/>
                  <a:gd name="connsiteX1" fmla="*/ 3078162 w 4721225"/>
                  <a:gd name="connsiteY1" fmla="*/ 4425950 h 4565651"/>
                  <a:gd name="connsiteX2" fmla="*/ 4584700 w 4721225"/>
                  <a:gd name="connsiteY2" fmla="*/ 4425950 h 4565651"/>
                  <a:gd name="connsiteX3" fmla="*/ 4584700 w 4721225"/>
                  <a:gd name="connsiteY3" fmla="*/ 3575050 h 4565651"/>
                  <a:gd name="connsiteX4" fmla="*/ 3075553 w 4721225"/>
                  <a:gd name="connsiteY4" fmla="*/ 3436938 h 4565651"/>
                  <a:gd name="connsiteX5" fmla="*/ 4587310 w 4721225"/>
                  <a:gd name="connsiteY5" fmla="*/ 3436938 h 4565651"/>
                  <a:gd name="connsiteX6" fmla="*/ 4721225 w 4721225"/>
                  <a:gd name="connsiteY6" fmla="*/ 3567976 h 4565651"/>
                  <a:gd name="connsiteX7" fmla="*/ 4721225 w 4721225"/>
                  <a:gd name="connsiteY7" fmla="*/ 4431635 h 4565651"/>
                  <a:gd name="connsiteX8" fmla="*/ 4587310 w 4721225"/>
                  <a:gd name="connsiteY8" fmla="*/ 4565651 h 4565651"/>
                  <a:gd name="connsiteX9" fmla="*/ 3075553 w 4721225"/>
                  <a:gd name="connsiteY9" fmla="*/ 4565651 h 4565651"/>
                  <a:gd name="connsiteX10" fmla="*/ 2941637 w 4721225"/>
                  <a:gd name="connsiteY10" fmla="*/ 4431635 h 4565651"/>
                  <a:gd name="connsiteX11" fmla="*/ 2941637 w 4721225"/>
                  <a:gd name="connsiteY11" fmla="*/ 3567976 h 4565651"/>
                  <a:gd name="connsiteX12" fmla="*/ 3075553 w 4721225"/>
                  <a:gd name="connsiteY12" fmla="*/ 3436938 h 4565651"/>
                  <a:gd name="connsiteX13" fmla="*/ 1609725 w 4721225"/>
                  <a:gd name="connsiteY13" fmla="*/ 1857375 h 4565651"/>
                  <a:gd name="connsiteX14" fmla="*/ 1609725 w 4721225"/>
                  <a:gd name="connsiteY14" fmla="*/ 2708275 h 4565651"/>
                  <a:gd name="connsiteX15" fmla="*/ 3105150 w 4721225"/>
                  <a:gd name="connsiteY15" fmla="*/ 2708275 h 4565651"/>
                  <a:gd name="connsiteX16" fmla="*/ 3105150 w 4721225"/>
                  <a:gd name="connsiteY16" fmla="*/ 1857375 h 4565651"/>
                  <a:gd name="connsiteX17" fmla="*/ 1607176 w 4721225"/>
                  <a:gd name="connsiteY17" fmla="*/ 1717675 h 4565651"/>
                  <a:gd name="connsiteX18" fmla="*/ 3107700 w 4721225"/>
                  <a:gd name="connsiteY18" fmla="*/ 1717675 h 4565651"/>
                  <a:gd name="connsiteX19" fmla="*/ 3241675 w 4721225"/>
                  <a:gd name="connsiteY19" fmla="*/ 1851526 h 4565651"/>
                  <a:gd name="connsiteX20" fmla="*/ 3241675 w 4721225"/>
                  <a:gd name="connsiteY20" fmla="*/ 2714124 h 4565651"/>
                  <a:gd name="connsiteX21" fmla="*/ 3107700 w 4721225"/>
                  <a:gd name="connsiteY21" fmla="*/ 2847975 h 4565651"/>
                  <a:gd name="connsiteX22" fmla="*/ 1607176 w 4721225"/>
                  <a:gd name="connsiteY22" fmla="*/ 2847975 h 4565651"/>
                  <a:gd name="connsiteX23" fmla="*/ 1473200 w 4721225"/>
                  <a:gd name="connsiteY23" fmla="*/ 2714124 h 4565651"/>
                  <a:gd name="connsiteX24" fmla="*/ 1473200 w 4721225"/>
                  <a:gd name="connsiteY24" fmla="*/ 2429399 h 4565651"/>
                  <a:gd name="connsiteX25" fmla="*/ 1473200 w 4721225"/>
                  <a:gd name="connsiteY25" fmla="*/ 2384585 h 4565651"/>
                  <a:gd name="connsiteX26" fmla="*/ 1463779 w 4721225"/>
                  <a:gd name="connsiteY26" fmla="*/ 2384585 h 4565651"/>
                  <a:gd name="connsiteX27" fmla="*/ 494087 w 4721225"/>
                  <a:gd name="connsiteY27" fmla="*/ 2384585 h 4565651"/>
                  <a:gd name="connsiteX28" fmla="*/ 494087 w 4721225"/>
                  <a:gd name="connsiteY28" fmla="*/ 3994462 h 4565651"/>
                  <a:gd name="connsiteX29" fmla="*/ 2556513 w 4721225"/>
                  <a:gd name="connsiteY29" fmla="*/ 3994462 h 4565651"/>
                  <a:gd name="connsiteX30" fmla="*/ 2366044 w 4721225"/>
                  <a:gd name="connsiteY30" fmla="*/ 3848650 h 4565651"/>
                  <a:gd name="connsiteX31" fmla="*/ 2351164 w 4721225"/>
                  <a:gd name="connsiteY31" fmla="*/ 3750451 h 4565651"/>
                  <a:gd name="connsiteX32" fmla="*/ 2449374 w 4721225"/>
                  <a:gd name="connsiteY32" fmla="*/ 3738548 h 4565651"/>
                  <a:gd name="connsiteX33" fmla="*/ 2800552 w 4721225"/>
                  <a:gd name="connsiteY33" fmla="*/ 4009340 h 4565651"/>
                  <a:gd name="connsiteX34" fmla="*/ 2803528 w 4721225"/>
                  <a:gd name="connsiteY34" fmla="*/ 4012316 h 4565651"/>
                  <a:gd name="connsiteX35" fmla="*/ 2806505 w 4721225"/>
                  <a:gd name="connsiteY35" fmla="*/ 4015292 h 4565651"/>
                  <a:gd name="connsiteX36" fmla="*/ 2809481 w 4721225"/>
                  <a:gd name="connsiteY36" fmla="*/ 4018267 h 4565651"/>
                  <a:gd name="connsiteX37" fmla="*/ 2812457 w 4721225"/>
                  <a:gd name="connsiteY37" fmla="*/ 4021243 h 4565651"/>
                  <a:gd name="connsiteX38" fmla="*/ 2815433 w 4721225"/>
                  <a:gd name="connsiteY38" fmla="*/ 4027195 h 4565651"/>
                  <a:gd name="connsiteX39" fmla="*/ 2818409 w 4721225"/>
                  <a:gd name="connsiteY39" fmla="*/ 4027195 h 4565651"/>
                  <a:gd name="connsiteX40" fmla="*/ 2818409 w 4721225"/>
                  <a:gd name="connsiteY40" fmla="*/ 4030170 h 4565651"/>
                  <a:gd name="connsiteX41" fmla="*/ 2821385 w 4721225"/>
                  <a:gd name="connsiteY41" fmla="*/ 4033146 h 4565651"/>
                  <a:gd name="connsiteX42" fmla="*/ 2821385 w 4721225"/>
                  <a:gd name="connsiteY42" fmla="*/ 4036122 h 4565651"/>
                  <a:gd name="connsiteX43" fmla="*/ 2824361 w 4721225"/>
                  <a:gd name="connsiteY43" fmla="*/ 4042073 h 4565651"/>
                  <a:gd name="connsiteX44" fmla="*/ 2824361 w 4721225"/>
                  <a:gd name="connsiteY44" fmla="*/ 4048025 h 4565651"/>
                  <a:gd name="connsiteX45" fmla="*/ 2824361 w 4721225"/>
                  <a:gd name="connsiteY45" fmla="*/ 4051001 h 4565651"/>
                  <a:gd name="connsiteX46" fmla="*/ 2827337 w 4721225"/>
                  <a:gd name="connsiteY46" fmla="*/ 4053976 h 4565651"/>
                  <a:gd name="connsiteX47" fmla="*/ 2827337 w 4721225"/>
                  <a:gd name="connsiteY47" fmla="*/ 4056952 h 4565651"/>
                  <a:gd name="connsiteX48" fmla="*/ 2827337 w 4721225"/>
                  <a:gd name="connsiteY48" fmla="*/ 4059928 h 4565651"/>
                  <a:gd name="connsiteX49" fmla="*/ 2827337 w 4721225"/>
                  <a:gd name="connsiteY49" fmla="*/ 4062904 h 4565651"/>
                  <a:gd name="connsiteX50" fmla="*/ 2827337 w 4721225"/>
                  <a:gd name="connsiteY50" fmla="*/ 4065879 h 4565651"/>
                  <a:gd name="connsiteX51" fmla="*/ 2827337 w 4721225"/>
                  <a:gd name="connsiteY51" fmla="*/ 4068855 h 4565651"/>
                  <a:gd name="connsiteX52" fmla="*/ 2827337 w 4721225"/>
                  <a:gd name="connsiteY52" fmla="*/ 4071831 h 4565651"/>
                  <a:gd name="connsiteX53" fmla="*/ 2824361 w 4721225"/>
                  <a:gd name="connsiteY53" fmla="*/ 4077782 h 4565651"/>
                  <a:gd name="connsiteX54" fmla="*/ 2824361 w 4721225"/>
                  <a:gd name="connsiteY54" fmla="*/ 4080758 h 4565651"/>
                  <a:gd name="connsiteX55" fmla="*/ 2824361 w 4721225"/>
                  <a:gd name="connsiteY55" fmla="*/ 4083734 h 4565651"/>
                  <a:gd name="connsiteX56" fmla="*/ 2824361 w 4721225"/>
                  <a:gd name="connsiteY56" fmla="*/ 4086710 h 4565651"/>
                  <a:gd name="connsiteX57" fmla="*/ 2821385 w 4721225"/>
                  <a:gd name="connsiteY57" fmla="*/ 4089685 h 4565651"/>
                  <a:gd name="connsiteX58" fmla="*/ 2821385 w 4721225"/>
                  <a:gd name="connsiteY58" fmla="*/ 4092661 h 4565651"/>
                  <a:gd name="connsiteX59" fmla="*/ 2818409 w 4721225"/>
                  <a:gd name="connsiteY59" fmla="*/ 4095637 h 4565651"/>
                  <a:gd name="connsiteX60" fmla="*/ 2818409 w 4721225"/>
                  <a:gd name="connsiteY60" fmla="*/ 4098612 h 4565651"/>
                  <a:gd name="connsiteX61" fmla="*/ 2815433 w 4721225"/>
                  <a:gd name="connsiteY61" fmla="*/ 4101588 h 4565651"/>
                  <a:gd name="connsiteX62" fmla="*/ 2812457 w 4721225"/>
                  <a:gd name="connsiteY62" fmla="*/ 4104564 h 4565651"/>
                  <a:gd name="connsiteX63" fmla="*/ 2812457 w 4721225"/>
                  <a:gd name="connsiteY63" fmla="*/ 4107540 h 4565651"/>
                  <a:gd name="connsiteX64" fmla="*/ 2809481 w 4721225"/>
                  <a:gd name="connsiteY64" fmla="*/ 4110515 h 4565651"/>
                  <a:gd name="connsiteX65" fmla="*/ 2806505 w 4721225"/>
                  <a:gd name="connsiteY65" fmla="*/ 4113491 h 4565651"/>
                  <a:gd name="connsiteX66" fmla="*/ 2803528 w 4721225"/>
                  <a:gd name="connsiteY66" fmla="*/ 4116467 h 4565651"/>
                  <a:gd name="connsiteX67" fmla="*/ 2800552 w 4721225"/>
                  <a:gd name="connsiteY67" fmla="*/ 4116467 h 4565651"/>
                  <a:gd name="connsiteX68" fmla="*/ 2800552 w 4721225"/>
                  <a:gd name="connsiteY68" fmla="*/ 4119443 h 4565651"/>
                  <a:gd name="connsiteX69" fmla="*/ 2449374 w 4721225"/>
                  <a:gd name="connsiteY69" fmla="*/ 4387259 h 4565651"/>
                  <a:gd name="connsiteX70" fmla="*/ 2407709 w 4721225"/>
                  <a:gd name="connsiteY70" fmla="*/ 4402138 h 4565651"/>
                  <a:gd name="connsiteX71" fmla="*/ 2351164 w 4721225"/>
                  <a:gd name="connsiteY71" fmla="*/ 4375356 h 4565651"/>
                  <a:gd name="connsiteX72" fmla="*/ 2366044 w 4721225"/>
                  <a:gd name="connsiteY72" fmla="*/ 4277157 h 4565651"/>
                  <a:gd name="connsiteX73" fmla="*/ 2556513 w 4721225"/>
                  <a:gd name="connsiteY73" fmla="*/ 4131346 h 4565651"/>
                  <a:gd name="connsiteX74" fmla="*/ 491111 w 4721225"/>
                  <a:gd name="connsiteY74" fmla="*/ 4131346 h 4565651"/>
                  <a:gd name="connsiteX75" fmla="*/ 357187 w 4721225"/>
                  <a:gd name="connsiteY75" fmla="*/ 4000413 h 4565651"/>
                  <a:gd name="connsiteX76" fmla="*/ 357187 w 4721225"/>
                  <a:gd name="connsiteY76" fmla="*/ 2378634 h 4565651"/>
                  <a:gd name="connsiteX77" fmla="*/ 491111 w 4721225"/>
                  <a:gd name="connsiteY77" fmla="*/ 2244725 h 4565651"/>
                  <a:gd name="connsiteX78" fmla="*/ 1305248 w 4721225"/>
                  <a:gd name="connsiteY78" fmla="*/ 2244725 h 4565651"/>
                  <a:gd name="connsiteX79" fmla="*/ 1473200 w 4721225"/>
                  <a:gd name="connsiteY79" fmla="*/ 2244725 h 4565651"/>
                  <a:gd name="connsiteX80" fmla="*/ 1473200 w 4721225"/>
                  <a:gd name="connsiteY80" fmla="*/ 2215435 h 4565651"/>
                  <a:gd name="connsiteX81" fmla="*/ 1473200 w 4721225"/>
                  <a:gd name="connsiteY81" fmla="*/ 1851526 h 4565651"/>
                  <a:gd name="connsiteX82" fmla="*/ 1607176 w 4721225"/>
                  <a:gd name="connsiteY82" fmla="*/ 1717675 h 4565651"/>
                  <a:gd name="connsiteX83" fmla="*/ 136525 w 4721225"/>
                  <a:gd name="connsiteY83" fmla="*/ 139700 h 4565651"/>
                  <a:gd name="connsiteX84" fmla="*/ 136525 w 4721225"/>
                  <a:gd name="connsiteY84" fmla="*/ 990600 h 4565651"/>
                  <a:gd name="connsiteX85" fmla="*/ 1636713 w 4721225"/>
                  <a:gd name="connsiteY85" fmla="*/ 990600 h 4565651"/>
                  <a:gd name="connsiteX86" fmla="*/ 1636713 w 4721225"/>
                  <a:gd name="connsiteY86" fmla="*/ 139700 h 4565651"/>
                  <a:gd name="connsiteX87" fmla="*/ 134005 w 4721225"/>
                  <a:gd name="connsiteY87" fmla="*/ 0 h 4565651"/>
                  <a:gd name="connsiteX88" fmla="*/ 1640820 w 4721225"/>
                  <a:gd name="connsiteY88" fmla="*/ 0 h 4565651"/>
                  <a:gd name="connsiteX89" fmla="*/ 1774825 w 4721225"/>
                  <a:gd name="connsiteY89" fmla="*/ 133828 h 4565651"/>
                  <a:gd name="connsiteX90" fmla="*/ 1774825 w 4721225"/>
                  <a:gd name="connsiteY90" fmla="*/ 418502 h 4565651"/>
                  <a:gd name="connsiteX91" fmla="*/ 1774825 w 4721225"/>
                  <a:gd name="connsiteY91" fmla="*/ 484188 h 4565651"/>
                  <a:gd name="connsiteX92" fmla="*/ 1778132 w 4721225"/>
                  <a:gd name="connsiteY92" fmla="*/ 484188 h 4565651"/>
                  <a:gd name="connsiteX93" fmla="*/ 4190436 w 4721225"/>
                  <a:gd name="connsiteY93" fmla="*/ 484188 h 4565651"/>
                  <a:gd name="connsiteX94" fmla="*/ 4324350 w 4721225"/>
                  <a:gd name="connsiteY94" fmla="*/ 615229 h 4565651"/>
                  <a:gd name="connsiteX95" fmla="*/ 4324350 w 4721225"/>
                  <a:gd name="connsiteY95" fmla="*/ 2250262 h 4565651"/>
                  <a:gd name="connsiteX96" fmla="*/ 4190436 w 4721225"/>
                  <a:gd name="connsiteY96" fmla="*/ 2384281 h 4565651"/>
                  <a:gd name="connsiteX97" fmla="*/ 3639900 w 4721225"/>
                  <a:gd name="connsiteY97" fmla="*/ 2384281 h 4565651"/>
                  <a:gd name="connsiteX98" fmla="*/ 3827380 w 4721225"/>
                  <a:gd name="connsiteY98" fmla="*/ 2521279 h 4565651"/>
                  <a:gd name="connsiteX99" fmla="*/ 3842259 w 4721225"/>
                  <a:gd name="connsiteY99" fmla="*/ 2619559 h 4565651"/>
                  <a:gd name="connsiteX100" fmla="*/ 3785718 w 4721225"/>
                  <a:gd name="connsiteY100" fmla="*/ 2646363 h 4565651"/>
                  <a:gd name="connsiteX101" fmla="*/ 3744055 w 4721225"/>
                  <a:gd name="connsiteY101" fmla="*/ 2634450 h 4565651"/>
                  <a:gd name="connsiteX102" fmla="*/ 3386951 w 4721225"/>
                  <a:gd name="connsiteY102" fmla="*/ 2369390 h 4565651"/>
                  <a:gd name="connsiteX103" fmla="*/ 3360168 w 4721225"/>
                  <a:gd name="connsiteY103" fmla="*/ 2309826 h 4565651"/>
                  <a:gd name="connsiteX104" fmla="*/ 3386951 w 4721225"/>
                  <a:gd name="connsiteY104" fmla="*/ 2253240 h 4565651"/>
                  <a:gd name="connsiteX105" fmla="*/ 3744055 w 4721225"/>
                  <a:gd name="connsiteY105" fmla="*/ 1982224 h 4565651"/>
                  <a:gd name="connsiteX106" fmla="*/ 3842259 w 4721225"/>
                  <a:gd name="connsiteY106" fmla="*/ 1997115 h 4565651"/>
                  <a:gd name="connsiteX107" fmla="*/ 3827380 w 4721225"/>
                  <a:gd name="connsiteY107" fmla="*/ 2092418 h 4565651"/>
                  <a:gd name="connsiteX108" fmla="*/ 3627996 w 4721225"/>
                  <a:gd name="connsiteY108" fmla="*/ 2244306 h 4565651"/>
                  <a:gd name="connsiteX109" fmla="*/ 4187460 w 4721225"/>
                  <a:gd name="connsiteY109" fmla="*/ 2244306 h 4565651"/>
                  <a:gd name="connsiteX110" fmla="*/ 4187460 w 4721225"/>
                  <a:gd name="connsiteY110" fmla="*/ 621185 h 4565651"/>
                  <a:gd name="connsiteX111" fmla="*/ 1982469 w 4721225"/>
                  <a:gd name="connsiteY111" fmla="*/ 621185 h 4565651"/>
                  <a:gd name="connsiteX112" fmla="*/ 1774825 w 4721225"/>
                  <a:gd name="connsiteY112" fmla="*/ 621185 h 4565651"/>
                  <a:gd name="connsiteX113" fmla="*/ 1774825 w 4721225"/>
                  <a:gd name="connsiteY113" fmla="*/ 632429 h 4565651"/>
                  <a:gd name="connsiteX114" fmla="*/ 1774825 w 4721225"/>
                  <a:gd name="connsiteY114" fmla="*/ 996272 h 4565651"/>
                  <a:gd name="connsiteX115" fmla="*/ 1640820 w 4721225"/>
                  <a:gd name="connsiteY115" fmla="*/ 1127125 h 4565651"/>
                  <a:gd name="connsiteX116" fmla="*/ 134005 w 4721225"/>
                  <a:gd name="connsiteY116" fmla="*/ 1127125 h 4565651"/>
                  <a:gd name="connsiteX117" fmla="*/ 0 w 4721225"/>
                  <a:gd name="connsiteY117" fmla="*/ 996272 h 4565651"/>
                  <a:gd name="connsiteX118" fmla="*/ 0 w 4721225"/>
                  <a:gd name="connsiteY118" fmla="*/ 133828 h 4565651"/>
                  <a:gd name="connsiteX119" fmla="*/ 134005 w 4721225"/>
                  <a:gd name="connsiteY119" fmla="*/ 0 h 456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4721225" h="4565651">
                    <a:moveTo>
                      <a:pt x="3078162" y="3575050"/>
                    </a:moveTo>
                    <a:lnTo>
                      <a:pt x="3078162" y="4425950"/>
                    </a:lnTo>
                    <a:lnTo>
                      <a:pt x="4584700" y="4425950"/>
                    </a:lnTo>
                    <a:lnTo>
                      <a:pt x="4584700" y="3575050"/>
                    </a:lnTo>
                    <a:close/>
                    <a:moveTo>
                      <a:pt x="3075553" y="3436938"/>
                    </a:moveTo>
                    <a:cubicBezTo>
                      <a:pt x="4587310" y="3436938"/>
                      <a:pt x="4587310" y="3436938"/>
                      <a:pt x="4587310" y="3436938"/>
                    </a:cubicBezTo>
                    <a:cubicBezTo>
                      <a:pt x="4661707" y="3436938"/>
                      <a:pt x="4721225" y="3496501"/>
                      <a:pt x="4721225" y="3567976"/>
                    </a:cubicBezTo>
                    <a:cubicBezTo>
                      <a:pt x="4721225" y="4431635"/>
                      <a:pt x="4721225" y="4431635"/>
                      <a:pt x="4721225" y="4431635"/>
                    </a:cubicBezTo>
                    <a:cubicBezTo>
                      <a:pt x="4721225" y="4506088"/>
                      <a:pt x="4661707" y="4565651"/>
                      <a:pt x="4587310" y="4565651"/>
                    </a:cubicBezTo>
                    <a:cubicBezTo>
                      <a:pt x="3075553" y="4565651"/>
                      <a:pt x="3075553" y="4565651"/>
                      <a:pt x="3075553" y="4565651"/>
                    </a:cubicBezTo>
                    <a:cubicBezTo>
                      <a:pt x="3001155" y="4565651"/>
                      <a:pt x="2941637" y="4506088"/>
                      <a:pt x="2941637" y="4431635"/>
                    </a:cubicBezTo>
                    <a:cubicBezTo>
                      <a:pt x="2941637" y="3567976"/>
                      <a:pt x="2941637" y="3567976"/>
                      <a:pt x="2941637" y="3567976"/>
                    </a:cubicBezTo>
                    <a:cubicBezTo>
                      <a:pt x="2941637" y="3496501"/>
                      <a:pt x="3001155" y="3436938"/>
                      <a:pt x="3075553" y="3436938"/>
                    </a:cubicBezTo>
                    <a:close/>
                    <a:moveTo>
                      <a:pt x="1609725" y="1857375"/>
                    </a:moveTo>
                    <a:lnTo>
                      <a:pt x="1609725" y="2708275"/>
                    </a:lnTo>
                    <a:lnTo>
                      <a:pt x="3105150" y="2708275"/>
                    </a:lnTo>
                    <a:lnTo>
                      <a:pt x="3105150" y="1857375"/>
                    </a:lnTo>
                    <a:close/>
                    <a:moveTo>
                      <a:pt x="1607176" y="1717675"/>
                    </a:moveTo>
                    <a:cubicBezTo>
                      <a:pt x="3107700" y="1717675"/>
                      <a:pt x="3107700" y="1717675"/>
                      <a:pt x="3107700" y="1717675"/>
                    </a:cubicBezTo>
                    <a:cubicBezTo>
                      <a:pt x="3182131" y="1717675"/>
                      <a:pt x="3241675" y="1780139"/>
                      <a:pt x="3241675" y="1851526"/>
                    </a:cubicBezTo>
                    <a:cubicBezTo>
                      <a:pt x="3241675" y="2714124"/>
                      <a:pt x="3241675" y="2714124"/>
                      <a:pt x="3241675" y="2714124"/>
                    </a:cubicBezTo>
                    <a:cubicBezTo>
                      <a:pt x="3241675" y="2785511"/>
                      <a:pt x="3182131" y="2847975"/>
                      <a:pt x="3107700" y="2847975"/>
                    </a:cubicBezTo>
                    <a:cubicBezTo>
                      <a:pt x="1607176" y="2847975"/>
                      <a:pt x="1607176" y="2847975"/>
                      <a:pt x="1607176" y="2847975"/>
                    </a:cubicBezTo>
                    <a:cubicBezTo>
                      <a:pt x="1532745" y="2847975"/>
                      <a:pt x="1473200" y="2785511"/>
                      <a:pt x="1473200" y="2714124"/>
                    </a:cubicBezTo>
                    <a:cubicBezTo>
                      <a:pt x="1473200" y="2606299"/>
                      <a:pt x="1473200" y="2511953"/>
                      <a:pt x="1473200" y="2429399"/>
                    </a:cubicBezTo>
                    <a:lnTo>
                      <a:pt x="1473200" y="2384585"/>
                    </a:lnTo>
                    <a:lnTo>
                      <a:pt x="1463779" y="2384585"/>
                    </a:lnTo>
                    <a:cubicBezTo>
                      <a:pt x="1417604" y="2384585"/>
                      <a:pt x="1232900" y="2384585"/>
                      <a:pt x="494087" y="2384585"/>
                    </a:cubicBezTo>
                    <a:cubicBezTo>
                      <a:pt x="494087" y="2384585"/>
                      <a:pt x="494087" y="2384585"/>
                      <a:pt x="494087" y="3994462"/>
                    </a:cubicBezTo>
                    <a:cubicBezTo>
                      <a:pt x="494087" y="3994462"/>
                      <a:pt x="494087" y="3994462"/>
                      <a:pt x="2556513" y="3994462"/>
                    </a:cubicBezTo>
                    <a:cubicBezTo>
                      <a:pt x="2556513" y="3994462"/>
                      <a:pt x="2556513" y="3994462"/>
                      <a:pt x="2366044" y="3848650"/>
                    </a:cubicBezTo>
                    <a:cubicBezTo>
                      <a:pt x="2336283" y="3824844"/>
                      <a:pt x="2330331" y="3783184"/>
                      <a:pt x="2351164" y="3750451"/>
                    </a:cubicBezTo>
                    <a:cubicBezTo>
                      <a:pt x="2374972" y="3720693"/>
                      <a:pt x="2419614" y="3714742"/>
                      <a:pt x="2449374" y="3738548"/>
                    </a:cubicBezTo>
                    <a:cubicBezTo>
                      <a:pt x="2449374" y="3738548"/>
                      <a:pt x="2449374" y="3738548"/>
                      <a:pt x="2800552" y="4009340"/>
                    </a:cubicBezTo>
                    <a:cubicBezTo>
                      <a:pt x="2803528" y="4009340"/>
                      <a:pt x="2803528" y="4012316"/>
                      <a:pt x="2803528" y="4012316"/>
                    </a:cubicBezTo>
                    <a:cubicBezTo>
                      <a:pt x="2806505" y="4012316"/>
                      <a:pt x="2806505" y="4015292"/>
                      <a:pt x="2806505" y="4015292"/>
                    </a:cubicBezTo>
                    <a:cubicBezTo>
                      <a:pt x="2806505" y="4015292"/>
                      <a:pt x="2809481" y="4015292"/>
                      <a:pt x="2809481" y="4018267"/>
                    </a:cubicBezTo>
                    <a:cubicBezTo>
                      <a:pt x="2809481" y="4018267"/>
                      <a:pt x="2809481" y="4018267"/>
                      <a:pt x="2812457" y="4021243"/>
                    </a:cubicBezTo>
                    <a:cubicBezTo>
                      <a:pt x="2815433" y="4024219"/>
                      <a:pt x="2815433" y="4024219"/>
                      <a:pt x="2815433" y="4027195"/>
                    </a:cubicBezTo>
                    <a:cubicBezTo>
                      <a:pt x="2815433" y="4027195"/>
                      <a:pt x="2815433" y="4027195"/>
                      <a:pt x="2818409" y="4027195"/>
                    </a:cubicBezTo>
                    <a:cubicBezTo>
                      <a:pt x="2818409" y="4030170"/>
                      <a:pt x="2818409" y="4030170"/>
                      <a:pt x="2818409" y="4030170"/>
                    </a:cubicBezTo>
                    <a:cubicBezTo>
                      <a:pt x="2818409" y="4033146"/>
                      <a:pt x="2821385" y="4033146"/>
                      <a:pt x="2821385" y="4033146"/>
                    </a:cubicBezTo>
                    <a:cubicBezTo>
                      <a:pt x="2821385" y="4036122"/>
                      <a:pt x="2821385" y="4036122"/>
                      <a:pt x="2821385" y="4036122"/>
                    </a:cubicBezTo>
                    <a:cubicBezTo>
                      <a:pt x="2821385" y="4039098"/>
                      <a:pt x="2821385" y="4039098"/>
                      <a:pt x="2824361" y="4042073"/>
                    </a:cubicBezTo>
                    <a:cubicBezTo>
                      <a:pt x="2824361" y="4045049"/>
                      <a:pt x="2824361" y="4045049"/>
                      <a:pt x="2824361" y="4048025"/>
                    </a:cubicBezTo>
                    <a:cubicBezTo>
                      <a:pt x="2824361" y="4048025"/>
                      <a:pt x="2824361" y="4048025"/>
                      <a:pt x="2824361" y="4051001"/>
                    </a:cubicBezTo>
                    <a:cubicBezTo>
                      <a:pt x="2827337" y="4051001"/>
                      <a:pt x="2827337" y="4051001"/>
                      <a:pt x="2827337" y="4053976"/>
                    </a:cubicBezTo>
                    <a:cubicBezTo>
                      <a:pt x="2827337" y="4053976"/>
                      <a:pt x="2827337" y="4056952"/>
                      <a:pt x="2827337" y="4056952"/>
                    </a:cubicBezTo>
                    <a:cubicBezTo>
                      <a:pt x="2827337" y="4056952"/>
                      <a:pt x="2827337" y="4059928"/>
                      <a:pt x="2827337" y="4059928"/>
                    </a:cubicBezTo>
                    <a:cubicBezTo>
                      <a:pt x="2827337" y="4059928"/>
                      <a:pt x="2827337" y="4062904"/>
                      <a:pt x="2827337" y="4062904"/>
                    </a:cubicBezTo>
                    <a:cubicBezTo>
                      <a:pt x="2827337" y="4065879"/>
                      <a:pt x="2827337" y="4065879"/>
                      <a:pt x="2827337" y="4065879"/>
                    </a:cubicBezTo>
                    <a:cubicBezTo>
                      <a:pt x="2827337" y="4068855"/>
                      <a:pt x="2827337" y="4068855"/>
                      <a:pt x="2827337" y="4068855"/>
                    </a:cubicBezTo>
                    <a:cubicBezTo>
                      <a:pt x="2827337" y="4071831"/>
                      <a:pt x="2827337" y="4071831"/>
                      <a:pt x="2827337" y="4071831"/>
                    </a:cubicBezTo>
                    <a:cubicBezTo>
                      <a:pt x="2827337" y="4074807"/>
                      <a:pt x="2827337" y="4074807"/>
                      <a:pt x="2824361" y="4077782"/>
                    </a:cubicBezTo>
                    <a:cubicBezTo>
                      <a:pt x="2824361" y="4077782"/>
                      <a:pt x="2824361" y="4077782"/>
                      <a:pt x="2824361" y="4080758"/>
                    </a:cubicBezTo>
                    <a:cubicBezTo>
                      <a:pt x="2824361" y="4080758"/>
                      <a:pt x="2824361" y="4080758"/>
                      <a:pt x="2824361" y="4083734"/>
                    </a:cubicBezTo>
                    <a:cubicBezTo>
                      <a:pt x="2824361" y="4083734"/>
                      <a:pt x="2824361" y="4083734"/>
                      <a:pt x="2824361" y="4086710"/>
                    </a:cubicBezTo>
                    <a:cubicBezTo>
                      <a:pt x="2821385" y="4086710"/>
                      <a:pt x="2821385" y="4089685"/>
                      <a:pt x="2821385" y="4089685"/>
                    </a:cubicBezTo>
                    <a:cubicBezTo>
                      <a:pt x="2821385" y="4089685"/>
                      <a:pt x="2821385" y="4092661"/>
                      <a:pt x="2821385" y="4092661"/>
                    </a:cubicBezTo>
                    <a:cubicBezTo>
                      <a:pt x="2821385" y="4092661"/>
                      <a:pt x="2818409" y="4095637"/>
                      <a:pt x="2818409" y="4095637"/>
                    </a:cubicBezTo>
                    <a:cubicBezTo>
                      <a:pt x="2818409" y="4095637"/>
                      <a:pt x="2818409" y="4098612"/>
                      <a:pt x="2818409" y="4098612"/>
                    </a:cubicBezTo>
                    <a:cubicBezTo>
                      <a:pt x="2815433" y="4098612"/>
                      <a:pt x="2815433" y="4101588"/>
                      <a:pt x="2815433" y="4101588"/>
                    </a:cubicBezTo>
                    <a:cubicBezTo>
                      <a:pt x="2815433" y="4101588"/>
                      <a:pt x="2815433" y="4104564"/>
                      <a:pt x="2812457" y="4104564"/>
                    </a:cubicBezTo>
                    <a:cubicBezTo>
                      <a:pt x="2812457" y="4104564"/>
                      <a:pt x="2812457" y="4107540"/>
                      <a:pt x="2812457" y="4107540"/>
                    </a:cubicBezTo>
                    <a:cubicBezTo>
                      <a:pt x="2809481" y="4107540"/>
                      <a:pt x="2809481" y="4110515"/>
                      <a:pt x="2809481" y="4110515"/>
                    </a:cubicBezTo>
                    <a:cubicBezTo>
                      <a:pt x="2806505" y="4110515"/>
                      <a:pt x="2806505" y="4110515"/>
                      <a:pt x="2806505" y="4113491"/>
                    </a:cubicBezTo>
                    <a:cubicBezTo>
                      <a:pt x="2806505" y="4113491"/>
                      <a:pt x="2803528" y="4113491"/>
                      <a:pt x="2803528" y="4116467"/>
                    </a:cubicBezTo>
                    <a:cubicBezTo>
                      <a:pt x="2803528" y="4116467"/>
                      <a:pt x="2800552" y="4116467"/>
                      <a:pt x="2800552" y="4116467"/>
                    </a:cubicBezTo>
                    <a:cubicBezTo>
                      <a:pt x="2800552" y="4116467"/>
                      <a:pt x="2800552" y="4116467"/>
                      <a:pt x="2800552" y="4119443"/>
                    </a:cubicBezTo>
                    <a:cubicBezTo>
                      <a:pt x="2800552" y="4119443"/>
                      <a:pt x="2800552" y="4119443"/>
                      <a:pt x="2449374" y="4387259"/>
                    </a:cubicBezTo>
                    <a:cubicBezTo>
                      <a:pt x="2437470" y="4396187"/>
                      <a:pt x="2422590" y="4402138"/>
                      <a:pt x="2407709" y="4402138"/>
                    </a:cubicBezTo>
                    <a:cubicBezTo>
                      <a:pt x="2386877" y="4402138"/>
                      <a:pt x="2366044" y="4393211"/>
                      <a:pt x="2351164" y="4375356"/>
                    </a:cubicBezTo>
                    <a:cubicBezTo>
                      <a:pt x="2330331" y="4345599"/>
                      <a:pt x="2336283" y="4300963"/>
                      <a:pt x="2366044" y="4277157"/>
                    </a:cubicBezTo>
                    <a:cubicBezTo>
                      <a:pt x="2366044" y="4277157"/>
                      <a:pt x="2366044" y="4277157"/>
                      <a:pt x="2556513" y="4131346"/>
                    </a:cubicBezTo>
                    <a:cubicBezTo>
                      <a:pt x="2556513" y="4131346"/>
                      <a:pt x="2556513" y="4131346"/>
                      <a:pt x="491111" y="4131346"/>
                    </a:cubicBezTo>
                    <a:cubicBezTo>
                      <a:pt x="416709" y="4131346"/>
                      <a:pt x="357187" y="4074807"/>
                      <a:pt x="357187" y="4000413"/>
                    </a:cubicBezTo>
                    <a:cubicBezTo>
                      <a:pt x="357187" y="4000413"/>
                      <a:pt x="357187" y="4000413"/>
                      <a:pt x="357187" y="2378634"/>
                    </a:cubicBezTo>
                    <a:cubicBezTo>
                      <a:pt x="357187" y="2304240"/>
                      <a:pt x="416709" y="2244725"/>
                      <a:pt x="491111" y="2244725"/>
                    </a:cubicBezTo>
                    <a:cubicBezTo>
                      <a:pt x="491111" y="2244725"/>
                      <a:pt x="491111" y="2244725"/>
                      <a:pt x="1305248" y="2244725"/>
                    </a:cubicBezTo>
                    <a:lnTo>
                      <a:pt x="1473200" y="2244725"/>
                    </a:lnTo>
                    <a:lnTo>
                      <a:pt x="1473200" y="2215435"/>
                    </a:lnTo>
                    <a:cubicBezTo>
                      <a:pt x="1473200" y="1851526"/>
                      <a:pt x="1473200" y="1851526"/>
                      <a:pt x="1473200" y="1851526"/>
                    </a:cubicBezTo>
                    <a:cubicBezTo>
                      <a:pt x="1473200" y="1780139"/>
                      <a:pt x="1532745" y="1717675"/>
                      <a:pt x="1607176" y="1717675"/>
                    </a:cubicBezTo>
                    <a:close/>
                    <a:moveTo>
                      <a:pt x="136525" y="139700"/>
                    </a:moveTo>
                    <a:lnTo>
                      <a:pt x="136525" y="990600"/>
                    </a:lnTo>
                    <a:lnTo>
                      <a:pt x="1636713" y="990600"/>
                    </a:lnTo>
                    <a:lnTo>
                      <a:pt x="1636713" y="139700"/>
                    </a:lnTo>
                    <a:close/>
                    <a:moveTo>
                      <a:pt x="134005" y="0"/>
                    </a:moveTo>
                    <a:cubicBezTo>
                      <a:pt x="1640820" y="0"/>
                      <a:pt x="1640820" y="0"/>
                      <a:pt x="1640820" y="0"/>
                    </a:cubicBezTo>
                    <a:cubicBezTo>
                      <a:pt x="1715267" y="0"/>
                      <a:pt x="1774825" y="59479"/>
                      <a:pt x="1774825" y="133828"/>
                    </a:cubicBezTo>
                    <a:cubicBezTo>
                      <a:pt x="1774825" y="241634"/>
                      <a:pt x="1774825" y="335964"/>
                      <a:pt x="1774825" y="418502"/>
                    </a:cubicBezTo>
                    <a:lnTo>
                      <a:pt x="1774825" y="484188"/>
                    </a:lnTo>
                    <a:lnTo>
                      <a:pt x="1778132" y="484188"/>
                    </a:lnTo>
                    <a:cubicBezTo>
                      <a:pt x="1847496" y="484188"/>
                      <a:pt x="2217434" y="484188"/>
                      <a:pt x="4190436" y="484188"/>
                    </a:cubicBezTo>
                    <a:cubicBezTo>
                      <a:pt x="4264833" y="484188"/>
                      <a:pt x="4324350" y="543752"/>
                      <a:pt x="4324350" y="615229"/>
                    </a:cubicBezTo>
                    <a:cubicBezTo>
                      <a:pt x="4324350" y="615229"/>
                      <a:pt x="4324350" y="615229"/>
                      <a:pt x="4324350" y="2250262"/>
                    </a:cubicBezTo>
                    <a:cubicBezTo>
                      <a:pt x="4324350" y="2324717"/>
                      <a:pt x="4264833" y="2384281"/>
                      <a:pt x="4190436" y="2384281"/>
                    </a:cubicBezTo>
                    <a:cubicBezTo>
                      <a:pt x="4190436" y="2384281"/>
                      <a:pt x="4190436" y="2384281"/>
                      <a:pt x="3639900" y="2384281"/>
                    </a:cubicBezTo>
                    <a:cubicBezTo>
                      <a:pt x="3639900" y="2384281"/>
                      <a:pt x="3639900" y="2384281"/>
                      <a:pt x="3827380" y="2521279"/>
                    </a:cubicBezTo>
                    <a:cubicBezTo>
                      <a:pt x="3857138" y="2545104"/>
                      <a:pt x="3863090" y="2586799"/>
                      <a:pt x="3842259" y="2619559"/>
                    </a:cubicBezTo>
                    <a:cubicBezTo>
                      <a:pt x="3827380" y="2637429"/>
                      <a:pt x="3806549" y="2646363"/>
                      <a:pt x="3785718" y="2646363"/>
                    </a:cubicBezTo>
                    <a:cubicBezTo>
                      <a:pt x="3770838" y="2646363"/>
                      <a:pt x="3758935" y="2643385"/>
                      <a:pt x="3744055" y="2634450"/>
                    </a:cubicBezTo>
                    <a:cubicBezTo>
                      <a:pt x="3744055" y="2634450"/>
                      <a:pt x="3744055" y="2634450"/>
                      <a:pt x="3386951" y="2369390"/>
                    </a:cubicBezTo>
                    <a:cubicBezTo>
                      <a:pt x="3369096" y="2354499"/>
                      <a:pt x="3360168" y="2333652"/>
                      <a:pt x="3360168" y="2309826"/>
                    </a:cubicBezTo>
                    <a:cubicBezTo>
                      <a:pt x="3360168" y="2288979"/>
                      <a:pt x="3369096" y="2268131"/>
                      <a:pt x="3386951" y="2253240"/>
                    </a:cubicBezTo>
                    <a:cubicBezTo>
                      <a:pt x="3386951" y="2253240"/>
                      <a:pt x="3386951" y="2253240"/>
                      <a:pt x="3744055" y="1982224"/>
                    </a:cubicBezTo>
                    <a:cubicBezTo>
                      <a:pt x="3773814" y="1961377"/>
                      <a:pt x="3818452" y="1967333"/>
                      <a:pt x="3842259" y="1997115"/>
                    </a:cubicBezTo>
                    <a:cubicBezTo>
                      <a:pt x="3863090" y="2026897"/>
                      <a:pt x="3857138" y="2071570"/>
                      <a:pt x="3827380" y="2092418"/>
                    </a:cubicBezTo>
                    <a:cubicBezTo>
                      <a:pt x="3827380" y="2092418"/>
                      <a:pt x="3827380" y="2092418"/>
                      <a:pt x="3627996" y="2244306"/>
                    </a:cubicBezTo>
                    <a:cubicBezTo>
                      <a:pt x="3627996" y="2244306"/>
                      <a:pt x="3627996" y="2244306"/>
                      <a:pt x="4187460" y="2244306"/>
                    </a:cubicBezTo>
                    <a:cubicBezTo>
                      <a:pt x="4187460" y="2244306"/>
                      <a:pt x="4187460" y="2244306"/>
                      <a:pt x="4187460" y="621185"/>
                    </a:cubicBezTo>
                    <a:cubicBezTo>
                      <a:pt x="4187460" y="621185"/>
                      <a:pt x="4187460" y="621185"/>
                      <a:pt x="1982469" y="621185"/>
                    </a:cubicBezTo>
                    <a:lnTo>
                      <a:pt x="1774825" y="621185"/>
                    </a:lnTo>
                    <a:lnTo>
                      <a:pt x="1774825" y="632429"/>
                    </a:lnTo>
                    <a:cubicBezTo>
                      <a:pt x="1774825" y="996272"/>
                      <a:pt x="1774825" y="996272"/>
                      <a:pt x="1774825" y="996272"/>
                    </a:cubicBezTo>
                    <a:cubicBezTo>
                      <a:pt x="1774825" y="1067646"/>
                      <a:pt x="1715267" y="1127125"/>
                      <a:pt x="1640820" y="1127125"/>
                    </a:cubicBezTo>
                    <a:cubicBezTo>
                      <a:pt x="134005" y="1127125"/>
                      <a:pt x="134005" y="1127125"/>
                      <a:pt x="134005" y="1127125"/>
                    </a:cubicBezTo>
                    <a:cubicBezTo>
                      <a:pt x="59558" y="1127125"/>
                      <a:pt x="0" y="1067646"/>
                      <a:pt x="0" y="996272"/>
                    </a:cubicBezTo>
                    <a:cubicBezTo>
                      <a:pt x="0" y="133828"/>
                      <a:pt x="0" y="133828"/>
                      <a:pt x="0" y="133828"/>
                    </a:cubicBezTo>
                    <a:cubicBezTo>
                      <a:pt x="0" y="59479"/>
                      <a:pt x="59558" y="0"/>
                      <a:pt x="13400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11"/>
              <p:cNvSpPr>
                <a:spLocks noEditPoints="1"/>
              </p:cNvSpPr>
              <p:nvPr/>
            </p:nvSpPr>
            <p:spPr bwMode="auto">
              <a:xfrm>
                <a:off x="3976688" y="1374775"/>
                <a:ext cx="4238625" cy="4114801"/>
              </a:xfrm>
              <a:custGeom>
                <a:avLst/>
                <a:gdLst>
                  <a:gd name="T0" fmla="*/ 1012 w 1424"/>
                  <a:gd name="T1" fmla="*/ 1153 h 1382"/>
                  <a:gd name="T2" fmla="*/ 1402 w 1424"/>
                  <a:gd name="T3" fmla="*/ 1153 h 1382"/>
                  <a:gd name="T4" fmla="*/ 1424 w 1424"/>
                  <a:gd name="T5" fmla="*/ 1174 h 1382"/>
                  <a:gd name="T6" fmla="*/ 1424 w 1424"/>
                  <a:gd name="T7" fmla="*/ 1360 h 1382"/>
                  <a:gd name="T8" fmla="*/ 1402 w 1424"/>
                  <a:gd name="T9" fmla="*/ 1382 h 1382"/>
                  <a:gd name="T10" fmla="*/ 1012 w 1424"/>
                  <a:gd name="T11" fmla="*/ 1382 h 1382"/>
                  <a:gd name="T12" fmla="*/ 991 w 1424"/>
                  <a:gd name="T13" fmla="*/ 1360 h 1382"/>
                  <a:gd name="T14" fmla="*/ 991 w 1424"/>
                  <a:gd name="T15" fmla="*/ 1174 h 1382"/>
                  <a:gd name="T16" fmla="*/ 1012 w 1424"/>
                  <a:gd name="T17" fmla="*/ 1153 h 1382"/>
                  <a:gd name="T18" fmla="*/ 518 w 1424"/>
                  <a:gd name="T19" fmla="*/ 576 h 1382"/>
                  <a:gd name="T20" fmla="*/ 908 w 1424"/>
                  <a:gd name="T21" fmla="*/ 576 h 1382"/>
                  <a:gd name="T22" fmla="*/ 930 w 1424"/>
                  <a:gd name="T23" fmla="*/ 598 h 1382"/>
                  <a:gd name="T24" fmla="*/ 930 w 1424"/>
                  <a:gd name="T25" fmla="*/ 782 h 1382"/>
                  <a:gd name="T26" fmla="*/ 908 w 1424"/>
                  <a:gd name="T27" fmla="*/ 804 h 1382"/>
                  <a:gd name="T28" fmla="*/ 518 w 1424"/>
                  <a:gd name="T29" fmla="*/ 804 h 1382"/>
                  <a:gd name="T30" fmla="*/ 496 w 1424"/>
                  <a:gd name="T31" fmla="*/ 782 h 1382"/>
                  <a:gd name="T32" fmla="*/ 496 w 1424"/>
                  <a:gd name="T33" fmla="*/ 598 h 1382"/>
                  <a:gd name="T34" fmla="*/ 518 w 1424"/>
                  <a:gd name="T35" fmla="*/ 576 h 1382"/>
                  <a:gd name="T36" fmla="*/ 22 w 1424"/>
                  <a:gd name="T37" fmla="*/ 0 h 1382"/>
                  <a:gd name="T38" fmla="*/ 414 w 1424"/>
                  <a:gd name="T39" fmla="*/ 0 h 1382"/>
                  <a:gd name="T40" fmla="*/ 435 w 1424"/>
                  <a:gd name="T41" fmla="*/ 22 h 1382"/>
                  <a:gd name="T42" fmla="*/ 435 w 1424"/>
                  <a:gd name="T43" fmla="*/ 206 h 1382"/>
                  <a:gd name="T44" fmla="*/ 414 w 1424"/>
                  <a:gd name="T45" fmla="*/ 227 h 1382"/>
                  <a:gd name="T46" fmla="*/ 22 w 1424"/>
                  <a:gd name="T47" fmla="*/ 227 h 1382"/>
                  <a:gd name="T48" fmla="*/ 0 w 1424"/>
                  <a:gd name="T49" fmla="*/ 206 h 1382"/>
                  <a:gd name="T50" fmla="*/ 0 w 1424"/>
                  <a:gd name="T51" fmla="*/ 22 h 1382"/>
                  <a:gd name="T52" fmla="*/ 22 w 1424"/>
                  <a:gd name="T53" fmla="*/ 0 h 1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24" h="1382">
                    <a:moveTo>
                      <a:pt x="1012" y="1153"/>
                    </a:moveTo>
                    <a:cubicBezTo>
                      <a:pt x="1402" y="1153"/>
                      <a:pt x="1402" y="1153"/>
                      <a:pt x="1402" y="1153"/>
                    </a:cubicBezTo>
                    <a:cubicBezTo>
                      <a:pt x="1415" y="1153"/>
                      <a:pt x="1424" y="1163"/>
                      <a:pt x="1424" y="1174"/>
                    </a:cubicBezTo>
                    <a:cubicBezTo>
                      <a:pt x="1424" y="1360"/>
                      <a:pt x="1424" y="1360"/>
                      <a:pt x="1424" y="1360"/>
                    </a:cubicBezTo>
                    <a:cubicBezTo>
                      <a:pt x="1424" y="1373"/>
                      <a:pt x="1415" y="1382"/>
                      <a:pt x="1402" y="1382"/>
                    </a:cubicBezTo>
                    <a:cubicBezTo>
                      <a:pt x="1012" y="1382"/>
                      <a:pt x="1012" y="1382"/>
                      <a:pt x="1012" y="1382"/>
                    </a:cubicBezTo>
                    <a:cubicBezTo>
                      <a:pt x="1000" y="1382"/>
                      <a:pt x="991" y="1373"/>
                      <a:pt x="991" y="1360"/>
                    </a:cubicBezTo>
                    <a:cubicBezTo>
                      <a:pt x="991" y="1174"/>
                      <a:pt x="991" y="1174"/>
                      <a:pt x="991" y="1174"/>
                    </a:cubicBezTo>
                    <a:cubicBezTo>
                      <a:pt x="991" y="1163"/>
                      <a:pt x="1000" y="1153"/>
                      <a:pt x="1012" y="1153"/>
                    </a:cubicBezTo>
                    <a:close/>
                    <a:moveTo>
                      <a:pt x="518" y="576"/>
                    </a:moveTo>
                    <a:cubicBezTo>
                      <a:pt x="908" y="576"/>
                      <a:pt x="908" y="576"/>
                      <a:pt x="908" y="576"/>
                    </a:cubicBezTo>
                    <a:cubicBezTo>
                      <a:pt x="920" y="576"/>
                      <a:pt x="930" y="586"/>
                      <a:pt x="930" y="598"/>
                    </a:cubicBezTo>
                    <a:cubicBezTo>
                      <a:pt x="930" y="782"/>
                      <a:pt x="930" y="782"/>
                      <a:pt x="930" y="782"/>
                    </a:cubicBezTo>
                    <a:cubicBezTo>
                      <a:pt x="930" y="795"/>
                      <a:pt x="920" y="804"/>
                      <a:pt x="908" y="804"/>
                    </a:cubicBezTo>
                    <a:cubicBezTo>
                      <a:pt x="518" y="804"/>
                      <a:pt x="518" y="804"/>
                      <a:pt x="518" y="804"/>
                    </a:cubicBezTo>
                    <a:cubicBezTo>
                      <a:pt x="506" y="804"/>
                      <a:pt x="496" y="795"/>
                      <a:pt x="496" y="782"/>
                    </a:cubicBezTo>
                    <a:cubicBezTo>
                      <a:pt x="496" y="598"/>
                      <a:pt x="496" y="598"/>
                      <a:pt x="496" y="598"/>
                    </a:cubicBezTo>
                    <a:cubicBezTo>
                      <a:pt x="496" y="586"/>
                      <a:pt x="506" y="576"/>
                      <a:pt x="518" y="576"/>
                    </a:cubicBezTo>
                    <a:close/>
                    <a:moveTo>
                      <a:pt x="22" y="0"/>
                    </a:moveTo>
                    <a:cubicBezTo>
                      <a:pt x="414" y="0"/>
                      <a:pt x="414" y="0"/>
                      <a:pt x="414" y="0"/>
                    </a:cubicBezTo>
                    <a:cubicBezTo>
                      <a:pt x="425" y="0"/>
                      <a:pt x="435" y="10"/>
                      <a:pt x="435" y="22"/>
                    </a:cubicBezTo>
                    <a:cubicBezTo>
                      <a:pt x="435" y="206"/>
                      <a:pt x="435" y="206"/>
                      <a:pt x="435" y="206"/>
                    </a:cubicBezTo>
                    <a:cubicBezTo>
                      <a:pt x="435" y="217"/>
                      <a:pt x="425" y="227"/>
                      <a:pt x="414" y="227"/>
                    </a:cubicBezTo>
                    <a:cubicBezTo>
                      <a:pt x="22" y="227"/>
                      <a:pt x="22" y="227"/>
                      <a:pt x="22" y="227"/>
                    </a:cubicBezTo>
                    <a:cubicBezTo>
                      <a:pt x="10" y="227"/>
                      <a:pt x="0" y="217"/>
                      <a:pt x="0" y="206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6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8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59" name="NavigationIcon"/>
          <p:cNvSpPr>
            <a:spLocks noChangeAspect="1"/>
          </p:cNvSpPr>
          <p:nvPr/>
        </p:nvSpPr>
        <p:spPr bwMode="auto">
          <a:xfrm>
            <a:off x="11737636" y="132877"/>
            <a:ext cx="271576" cy="365760"/>
          </a:xfrm>
          <a:custGeom>
            <a:avLst/>
            <a:gdLst>
              <a:gd name="connsiteX0" fmla="*/ 926427 w 999551"/>
              <a:gd name="connsiteY0" fmla="*/ 1074664 h 1346201"/>
              <a:gd name="connsiteX1" fmla="*/ 915066 w 999551"/>
              <a:gd name="connsiteY1" fmla="*/ 1078848 h 1346201"/>
              <a:gd name="connsiteX2" fmla="*/ 898607 w 999551"/>
              <a:gd name="connsiteY2" fmla="*/ 1094518 h 1346201"/>
              <a:gd name="connsiteX3" fmla="*/ 867121 w 999551"/>
              <a:gd name="connsiteY3" fmla="*/ 1124433 h 1346201"/>
              <a:gd name="connsiteX4" fmla="*/ 764073 w 999551"/>
              <a:gd name="connsiteY4" fmla="*/ 1223437 h 1346201"/>
              <a:gd name="connsiteX5" fmla="*/ 695375 w 999551"/>
              <a:gd name="connsiteY5" fmla="*/ 1155060 h 1346201"/>
              <a:gd name="connsiteX6" fmla="*/ 673191 w 999551"/>
              <a:gd name="connsiteY6" fmla="*/ 1155060 h 1346201"/>
              <a:gd name="connsiteX7" fmla="*/ 673191 w 999551"/>
              <a:gd name="connsiteY7" fmla="*/ 1177140 h 1346201"/>
              <a:gd name="connsiteX8" fmla="*/ 752623 w 999551"/>
              <a:gd name="connsiteY8" fmla="*/ 1256202 h 1346201"/>
              <a:gd name="connsiteX9" fmla="*/ 763357 w 999551"/>
              <a:gd name="connsiteY9" fmla="*/ 1260475 h 1346201"/>
              <a:gd name="connsiteX10" fmla="*/ 774092 w 999551"/>
              <a:gd name="connsiteY10" fmla="*/ 1256202 h 1346201"/>
              <a:gd name="connsiteX11" fmla="*/ 867121 w 999551"/>
              <a:gd name="connsiteY11" fmla="*/ 1167881 h 1346201"/>
              <a:gd name="connsiteX12" fmla="*/ 898607 w 999551"/>
              <a:gd name="connsiteY12" fmla="*/ 1137966 h 1346201"/>
              <a:gd name="connsiteX13" fmla="*/ 936535 w 999551"/>
              <a:gd name="connsiteY13" fmla="*/ 1101641 h 1346201"/>
              <a:gd name="connsiteX14" fmla="*/ 937250 w 999551"/>
              <a:gd name="connsiteY14" fmla="*/ 1079560 h 1346201"/>
              <a:gd name="connsiteX15" fmla="*/ 926427 w 999551"/>
              <a:gd name="connsiteY15" fmla="*/ 1074664 h 1346201"/>
              <a:gd name="connsiteX16" fmla="*/ 152230 w 999551"/>
              <a:gd name="connsiteY16" fmla="*/ 1057275 h 1346201"/>
              <a:gd name="connsiteX17" fmla="*/ 604838 w 999551"/>
              <a:gd name="connsiteY17" fmla="*/ 1057275 h 1346201"/>
              <a:gd name="connsiteX18" fmla="*/ 592702 w 999551"/>
              <a:gd name="connsiteY18" fmla="*/ 1089025 h 1346201"/>
              <a:gd name="connsiteX19" fmla="*/ 152230 w 999551"/>
              <a:gd name="connsiteY19" fmla="*/ 1089025 h 1346201"/>
              <a:gd name="connsiteX20" fmla="*/ 136525 w 999551"/>
              <a:gd name="connsiteY20" fmla="*/ 1073150 h 1346201"/>
              <a:gd name="connsiteX21" fmla="*/ 152230 w 999551"/>
              <a:gd name="connsiteY21" fmla="*/ 1057275 h 1346201"/>
              <a:gd name="connsiteX22" fmla="*/ 806847 w 999551"/>
              <a:gd name="connsiteY22" fmla="*/ 960438 h 1346201"/>
              <a:gd name="connsiteX23" fmla="*/ 867569 w 999551"/>
              <a:gd name="connsiteY23" fmla="*/ 970439 h 1346201"/>
              <a:gd name="connsiteX24" fmla="*/ 899002 w 999551"/>
              <a:gd name="connsiteY24" fmla="*/ 984013 h 1346201"/>
              <a:gd name="connsiteX25" fmla="*/ 945436 w 999551"/>
              <a:gd name="connsiteY25" fmla="*/ 1019731 h 1346201"/>
              <a:gd name="connsiteX26" fmla="*/ 956866 w 999551"/>
              <a:gd name="connsiteY26" fmla="*/ 1274764 h 1346201"/>
              <a:gd name="connsiteX27" fmla="*/ 940436 w 999551"/>
              <a:gd name="connsiteY27" fmla="*/ 1292623 h 1346201"/>
              <a:gd name="connsiteX28" fmla="*/ 924719 w 999551"/>
              <a:gd name="connsiteY28" fmla="*/ 1306196 h 1346201"/>
              <a:gd name="connsiteX29" fmla="*/ 924005 w 999551"/>
              <a:gd name="connsiteY29" fmla="*/ 1306196 h 1346201"/>
              <a:gd name="connsiteX30" fmla="*/ 806847 w 999551"/>
              <a:gd name="connsiteY30" fmla="*/ 1346201 h 1346201"/>
              <a:gd name="connsiteX31" fmla="*/ 688975 w 999551"/>
              <a:gd name="connsiteY31" fmla="*/ 1306196 h 1346201"/>
              <a:gd name="connsiteX32" fmla="*/ 667544 w 999551"/>
              <a:gd name="connsiteY32" fmla="*/ 1287622 h 1346201"/>
              <a:gd name="connsiteX33" fmla="*/ 656828 w 999551"/>
              <a:gd name="connsiteY33" fmla="*/ 1274764 h 1346201"/>
              <a:gd name="connsiteX34" fmla="*/ 625396 w 999551"/>
              <a:gd name="connsiteY34" fmla="*/ 1088311 h 1346201"/>
              <a:gd name="connsiteX35" fmla="*/ 639683 w 999551"/>
              <a:gd name="connsiteY35" fmla="*/ 1056879 h 1346201"/>
              <a:gd name="connsiteX36" fmla="*/ 673259 w 999551"/>
              <a:gd name="connsiteY36" fmla="*/ 1014731 h 1346201"/>
              <a:gd name="connsiteX37" fmla="*/ 740410 w 999551"/>
              <a:gd name="connsiteY37" fmla="*/ 972583 h 1346201"/>
              <a:gd name="connsiteX38" fmla="*/ 760413 w 999551"/>
              <a:gd name="connsiteY38" fmla="*/ 966153 h 1346201"/>
              <a:gd name="connsiteX39" fmla="*/ 806847 w 999551"/>
              <a:gd name="connsiteY39" fmla="*/ 960438 h 1346201"/>
              <a:gd name="connsiteX40" fmla="*/ 152218 w 999551"/>
              <a:gd name="connsiteY40" fmla="*/ 941388 h 1346201"/>
              <a:gd name="connsiteX41" fmla="*/ 735013 w 999551"/>
              <a:gd name="connsiteY41" fmla="*/ 941388 h 1346201"/>
              <a:gd name="connsiteX42" fmla="*/ 674380 w 999551"/>
              <a:gd name="connsiteY42" fmla="*/ 973138 h 1346201"/>
              <a:gd name="connsiteX43" fmla="*/ 152218 w 999551"/>
              <a:gd name="connsiteY43" fmla="*/ 973138 h 1346201"/>
              <a:gd name="connsiteX44" fmla="*/ 136525 w 999551"/>
              <a:gd name="connsiteY44" fmla="*/ 957263 h 1346201"/>
              <a:gd name="connsiteX45" fmla="*/ 152218 w 999551"/>
              <a:gd name="connsiteY45" fmla="*/ 941388 h 1346201"/>
              <a:gd name="connsiteX46" fmla="*/ 152237 w 999551"/>
              <a:gd name="connsiteY46" fmla="*/ 825500 h 1346201"/>
              <a:gd name="connsiteX47" fmla="*/ 747876 w 999551"/>
              <a:gd name="connsiteY47" fmla="*/ 825500 h 1346201"/>
              <a:gd name="connsiteX48" fmla="*/ 763588 w 999551"/>
              <a:gd name="connsiteY48" fmla="*/ 841375 h 1346201"/>
              <a:gd name="connsiteX49" fmla="*/ 747876 w 999551"/>
              <a:gd name="connsiteY49" fmla="*/ 857250 h 1346201"/>
              <a:gd name="connsiteX50" fmla="*/ 152237 w 999551"/>
              <a:gd name="connsiteY50" fmla="*/ 857250 h 1346201"/>
              <a:gd name="connsiteX51" fmla="*/ 136525 w 999551"/>
              <a:gd name="connsiteY51" fmla="*/ 841375 h 1346201"/>
              <a:gd name="connsiteX52" fmla="*/ 152237 w 999551"/>
              <a:gd name="connsiteY52" fmla="*/ 825500 h 1346201"/>
              <a:gd name="connsiteX53" fmla="*/ 152237 w 999551"/>
              <a:gd name="connsiteY53" fmla="*/ 709613 h 1346201"/>
              <a:gd name="connsiteX54" fmla="*/ 747876 w 999551"/>
              <a:gd name="connsiteY54" fmla="*/ 709613 h 1346201"/>
              <a:gd name="connsiteX55" fmla="*/ 763588 w 999551"/>
              <a:gd name="connsiteY55" fmla="*/ 725488 h 1346201"/>
              <a:gd name="connsiteX56" fmla="*/ 747876 w 999551"/>
              <a:gd name="connsiteY56" fmla="*/ 741363 h 1346201"/>
              <a:gd name="connsiteX57" fmla="*/ 152237 w 999551"/>
              <a:gd name="connsiteY57" fmla="*/ 741363 h 1346201"/>
              <a:gd name="connsiteX58" fmla="*/ 136525 w 999551"/>
              <a:gd name="connsiteY58" fmla="*/ 725488 h 1346201"/>
              <a:gd name="connsiteX59" fmla="*/ 152237 w 999551"/>
              <a:gd name="connsiteY59" fmla="*/ 709613 h 1346201"/>
              <a:gd name="connsiteX60" fmla="*/ 152237 w 999551"/>
              <a:gd name="connsiteY60" fmla="*/ 593725 h 1346201"/>
              <a:gd name="connsiteX61" fmla="*/ 747876 w 999551"/>
              <a:gd name="connsiteY61" fmla="*/ 593725 h 1346201"/>
              <a:gd name="connsiteX62" fmla="*/ 763588 w 999551"/>
              <a:gd name="connsiteY62" fmla="*/ 609600 h 1346201"/>
              <a:gd name="connsiteX63" fmla="*/ 747876 w 999551"/>
              <a:gd name="connsiteY63" fmla="*/ 625475 h 1346201"/>
              <a:gd name="connsiteX64" fmla="*/ 152237 w 999551"/>
              <a:gd name="connsiteY64" fmla="*/ 625475 h 1346201"/>
              <a:gd name="connsiteX65" fmla="*/ 136525 w 999551"/>
              <a:gd name="connsiteY65" fmla="*/ 609600 h 1346201"/>
              <a:gd name="connsiteX66" fmla="*/ 152237 w 999551"/>
              <a:gd name="connsiteY66" fmla="*/ 593725 h 1346201"/>
              <a:gd name="connsiteX67" fmla="*/ 152237 w 999551"/>
              <a:gd name="connsiteY67" fmla="*/ 477838 h 1346201"/>
              <a:gd name="connsiteX68" fmla="*/ 747876 w 999551"/>
              <a:gd name="connsiteY68" fmla="*/ 477838 h 1346201"/>
              <a:gd name="connsiteX69" fmla="*/ 763588 w 999551"/>
              <a:gd name="connsiteY69" fmla="*/ 493713 h 1346201"/>
              <a:gd name="connsiteX70" fmla="*/ 747876 w 999551"/>
              <a:gd name="connsiteY70" fmla="*/ 509588 h 1346201"/>
              <a:gd name="connsiteX71" fmla="*/ 152237 w 999551"/>
              <a:gd name="connsiteY71" fmla="*/ 509588 h 1346201"/>
              <a:gd name="connsiteX72" fmla="*/ 136525 w 999551"/>
              <a:gd name="connsiteY72" fmla="*/ 493713 h 1346201"/>
              <a:gd name="connsiteX73" fmla="*/ 152237 w 999551"/>
              <a:gd name="connsiteY73" fmla="*/ 477838 h 1346201"/>
              <a:gd name="connsiteX74" fmla="*/ 152237 w 999551"/>
              <a:gd name="connsiteY74" fmla="*/ 361950 h 1346201"/>
              <a:gd name="connsiteX75" fmla="*/ 747876 w 999551"/>
              <a:gd name="connsiteY75" fmla="*/ 361950 h 1346201"/>
              <a:gd name="connsiteX76" fmla="*/ 763588 w 999551"/>
              <a:gd name="connsiteY76" fmla="*/ 377825 h 1346201"/>
              <a:gd name="connsiteX77" fmla="*/ 747876 w 999551"/>
              <a:gd name="connsiteY77" fmla="*/ 393700 h 1346201"/>
              <a:gd name="connsiteX78" fmla="*/ 152237 w 999551"/>
              <a:gd name="connsiteY78" fmla="*/ 393700 h 1346201"/>
              <a:gd name="connsiteX79" fmla="*/ 136525 w 999551"/>
              <a:gd name="connsiteY79" fmla="*/ 377825 h 1346201"/>
              <a:gd name="connsiteX80" fmla="*/ 152237 w 999551"/>
              <a:gd name="connsiteY80" fmla="*/ 361950 h 1346201"/>
              <a:gd name="connsiteX81" fmla="*/ 625475 w 999551"/>
              <a:gd name="connsiteY81" fmla="*/ 114300 h 1346201"/>
              <a:gd name="connsiteX82" fmla="*/ 882800 w 999551"/>
              <a:gd name="connsiteY82" fmla="*/ 114300 h 1346201"/>
              <a:gd name="connsiteX83" fmla="*/ 898525 w 999551"/>
              <a:gd name="connsiteY83" fmla="*/ 130001 h 1346201"/>
              <a:gd name="connsiteX84" fmla="*/ 898525 w 999551"/>
              <a:gd name="connsiteY84" fmla="*/ 949325 h 1346201"/>
              <a:gd name="connsiteX85" fmla="*/ 867074 w 999551"/>
              <a:gd name="connsiteY85" fmla="*/ 937906 h 1346201"/>
              <a:gd name="connsiteX86" fmla="*/ 867074 w 999551"/>
              <a:gd name="connsiteY86" fmla="*/ 145703 h 1346201"/>
              <a:gd name="connsiteX87" fmla="*/ 625475 w 999551"/>
              <a:gd name="connsiteY87" fmla="*/ 145703 h 1346201"/>
              <a:gd name="connsiteX88" fmla="*/ 625475 w 999551"/>
              <a:gd name="connsiteY88" fmla="*/ 114300 h 1346201"/>
              <a:gd name="connsiteX89" fmla="*/ 15734 w 999551"/>
              <a:gd name="connsiteY89" fmla="*/ 114300 h 1346201"/>
              <a:gd name="connsiteX90" fmla="*/ 273195 w 999551"/>
              <a:gd name="connsiteY90" fmla="*/ 114300 h 1346201"/>
              <a:gd name="connsiteX91" fmla="*/ 273195 w 999551"/>
              <a:gd name="connsiteY91" fmla="*/ 145712 h 1346201"/>
              <a:gd name="connsiteX92" fmla="*/ 31468 w 999551"/>
              <a:gd name="connsiteY92" fmla="*/ 145712 h 1346201"/>
              <a:gd name="connsiteX93" fmla="*/ 31468 w 999551"/>
              <a:gd name="connsiteY93" fmla="*/ 1275102 h 1346201"/>
              <a:gd name="connsiteX94" fmla="*/ 618622 w 999551"/>
              <a:gd name="connsiteY94" fmla="*/ 1275102 h 1346201"/>
              <a:gd name="connsiteX95" fmla="*/ 642938 w 999551"/>
              <a:gd name="connsiteY95" fmla="*/ 1306513 h 1346201"/>
              <a:gd name="connsiteX96" fmla="*/ 15734 w 999551"/>
              <a:gd name="connsiteY96" fmla="*/ 1306513 h 1346201"/>
              <a:gd name="connsiteX97" fmla="*/ 0 w 999551"/>
              <a:gd name="connsiteY97" fmla="*/ 1290807 h 1346201"/>
              <a:gd name="connsiteX98" fmla="*/ 0 w 999551"/>
              <a:gd name="connsiteY98" fmla="*/ 130006 h 1346201"/>
              <a:gd name="connsiteX99" fmla="*/ 15734 w 999551"/>
              <a:gd name="connsiteY99" fmla="*/ 114300 h 1346201"/>
              <a:gd name="connsiteX100" fmla="*/ 449263 w 999551"/>
              <a:gd name="connsiteY100" fmla="*/ 31750 h 1346201"/>
              <a:gd name="connsiteX101" fmla="*/ 427180 w 999551"/>
              <a:gd name="connsiteY101" fmla="*/ 35314 h 1346201"/>
              <a:gd name="connsiteX102" fmla="*/ 393700 w 999551"/>
              <a:gd name="connsiteY102" fmla="*/ 66675 h 1346201"/>
              <a:gd name="connsiteX103" fmla="*/ 504825 w 999551"/>
              <a:gd name="connsiteY103" fmla="*/ 66675 h 1346201"/>
              <a:gd name="connsiteX104" fmla="*/ 471345 w 999551"/>
              <a:gd name="connsiteY104" fmla="*/ 35314 h 1346201"/>
              <a:gd name="connsiteX105" fmla="*/ 449263 w 999551"/>
              <a:gd name="connsiteY105" fmla="*/ 31750 h 1346201"/>
              <a:gd name="connsiteX106" fmla="*/ 449262 w 999551"/>
              <a:gd name="connsiteY106" fmla="*/ 0 h 1346201"/>
              <a:gd name="connsiteX107" fmla="*/ 522287 w 999551"/>
              <a:gd name="connsiteY107" fmla="*/ 34890 h 1346201"/>
              <a:gd name="connsiteX108" fmla="*/ 538754 w 999551"/>
              <a:gd name="connsiteY108" fmla="*/ 66220 h 1346201"/>
              <a:gd name="connsiteX109" fmla="*/ 588153 w 999551"/>
              <a:gd name="connsiteY109" fmla="*/ 66220 h 1346201"/>
              <a:gd name="connsiteX110" fmla="*/ 595312 w 999551"/>
              <a:gd name="connsiteY110" fmla="*/ 73340 h 1346201"/>
              <a:gd name="connsiteX111" fmla="*/ 595312 w 999551"/>
              <a:gd name="connsiteY111" fmla="*/ 113927 h 1346201"/>
              <a:gd name="connsiteX112" fmla="*/ 595312 w 999551"/>
              <a:gd name="connsiteY112" fmla="*/ 145256 h 1346201"/>
              <a:gd name="connsiteX113" fmla="*/ 595312 w 999551"/>
              <a:gd name="connsiteY113" fmla="*/ 178010 h 1346201"/>
              <a:gd name="connsiteX114" fmla="*/ 579562 w 999551"/>
              <a:gd name="connsiteY114" fmla="*/ 193675 h 1346201"/>
              <a:gd name="connsiteX115" fmla="*/ 318963 w 999551"/>
              <a:gd name="connsiteY115" fmla="*/ 193675 h 1346201"/>
              <a:gd name="connsiteX116" fmla="*/ 303212 w 999551"/>
              <a:gd name="connsiteY116" fmla="*/ 178010 h 1346201"/>
              <a:gd name="connsiteX117" fmla="*/ 303212 w 999551"/>
              <a:gd name="connsiteY117" fmla="*/ 145256 h 1346201"/>
              <a:gd name="connsiteX118" fmla="*/ 303212 w 999551"/>
              <a:gd name="connsiteY118" fmla="*/ 113927 h 1346201"/>
              <a:gd name="connsiteX119" fmla="*/ 303212 w 999551"/>
              <a:gd name="connsiteY119" fmla="*/ 73340 h 1346201"/>
              <a:gd name="connsiteX120" fmla="*/ 310372 w 999551"/>
              <a:gd name="connsiteY120" fmla="*/ 66220 h 1346201"/>
              <a:gd name="connsiteX121" fmla="*/ 359771 w 999551"/>
              <a:gd name="connsiteY121" fmla="*/ 66220 h 1346201"/>
              <a:gd name="connsiteX122" fmla="*/ 376237 w 999551"/>
              <a:gd name="connsiteY122" fmla="*/ 34890 h 1346201"/>
              <a:gd name="connsiteX123" fmla="*/ 449262 w 999551"/>
              <a:gd name="connsiteY123" fmla="*/ 0 h 134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999551" h="1346201">
                <a:moveTo>
                  <a:pt x="926427" y="1074664"/>
                </a:moveTo>
                <a:cubicBezTo>
                  <a:pt x="922401" y="1074575"/>
                  <a:pt x="918286" y="1075999"/>
                  <a:pt x="915066" y="1078848"/>
                </a:cubicBezTo>
                <a:cubicBezTo>
                  <a:pt x="915066" y="1078848"/>
                  <a:pt x="915066" y="1078848"/>
                  <a:pt x="898607" y="1094518"/>
                </a:cubicBezTo>
                <a:cubicBezTo>
                  <a:pt x="898607" y="1094518"/>
                  <a:pt x="898607" y="1094518"/>
                  <a:pt x="867121" y="1124433"/>
                </a:cubicBezTo>
                <a:cubicBezTo>
                  <a:pt x="867121" y="1124433"/>
                  <a:pt x="867121" y="1124433"/>
                  <a:pt x="764073" y="1223437"/>
                </a:cubicBezTo>
                <a:cubicBezTo>
                  <a:pt x="764073" y="1223437"/>
                  <a:pt x="764073" y="1223437"/>
                  <a:pt x="695375" y="1155060"/>
                </a:cubicBezTo>
                <a:cubicBezTo>
                  <a:pt x="688934" y="1148650"/>
                  <a:pt x="678916" y="1148650"/>
                  <a:pt x="673191" y="1155060"/>
                </a:cubicBezTo>
                <a:cubicBezTo>
                  <a:pt x="666750" y="1160758"/>
                  <a:pt x="666750" y="1170730"/>
                  <a:pt x="673191" y="1177140"/>
                </a:cubicBezTo>
                <a:cubicBezTo>
                  <a:pt x="673191" y="1177140"/>
                  <a:pt x="673191" y="1177140"/>
                  <a:pt x="752623" y="1256202"/>
                </a:cubicBezTo>
                <a:cubicBezTo>
                  <a:pt x="755486" y="1259051"/>
                  <a:pt x="759779" y="1260475"/>
                  <a:pt x="763357" y="1260475"/>
                </a:cubicBezTo>
                <a:cubicBezTo>
                  <a:pt x="767651" y="1260475"/>
                  <a:pt x="771229" y="1259051"/>
                  <a:pt x="774092" y="1256202"/>
                </a:cubicBezTo>
                <a:cubicBezTo>
                  <a:pt x="774092" y="1256202"/>
                  <a:pt x="774092" y="1256202"/>
                  <a:pt x="867121" y="1167881"/>
                </a:cubicBezTo>
                <a:cubicBezTo>
                  <a:pt x="867121" y="1167881"/>
                  <a:pt x="867121" y="1167881"/>
                  <a:pt x="898607" y="1137966"/>
                </a:cubicBezTo>
                <a:cubicBezTo>
                  <a:pt x="898607" y="1137966"/>
                  <a:pt x="898607" y="1137966"/>
                  <a:pt x="936535" y="1101641"/>
                </a:cubicBezTo>
                <a:cubicBezTo>
                  <a:pt x="942975" y="1095943"/>
                  <a:pt x="942975" y="1085971"/>
                  <a:pt x="937250" y="1079560"/>
                </a:cubicBezTo>
                <a:cubicBezTo>
                  <a:pt x="934388" y="1076355"/>
                  <a:pt x="930452" y="1074753"/>
                  <a:pt x="926427" y="1074664"/>
                </a:cubicBezTo>
                <a:close/>
                <a:moveTo>
                  <a:pt x="152230" y="1057275"/>
                </a:moveTo>
                <a:cubicBezTo>
                  <a:pt x="152230" y="1057275"/>
                  <a:pt x="152230" y="1057275"/>
                  <a:pt x="604838" y="1057275"/>
                </a:cubicBezTo>
                <a:cubicBezTo>
                  <a:pt x="599841" y="1067377"/>
                  <a:pt x="595557" y="1078201"/>
                  <a:pt x="592702" y="1089025"/>
                </a:cubicBezTo>
                <a:cubicBezTo>
                  <a:pt x="592702" y="1089025"/>
                  <a:pt x="592702" y="1089025"/>
                  <a:pt x="152230" y="1089025"/>
                </a:cubicBezTo>
                <a:cubicBezTo>
                  <a:pt x="142950" y="1089025"/>
                  <a:pt x="136525" y="1081809"/>
                  <a:pt x="136525" y="1073150"/>
                </a:cubicBezTo>
                <a:cubicBezTo>
                  <a:pt x="136525" y="1064491"/>
                  <a:pt x="142950" y="1057275"/>
                  <a:pt x="152230" y="1057275"/>
                </a:cubicBezTo>
                <a:close/>
                <a:moveTo>
                  <a:pt x="806847" y="960438"/>
                </a:moveTo>
                <a:cubicBezTo>
                  <a:pt x="827564" y="960438"/>
                  <a:pt x="848281" y="964010"/>
                  <a:pt x="867569" y="970439"/>
                </a:cubicBezTo>
                <a:cubicBezTo>
                  <a:pt x="878999" y="974011"/>
                  <a:pt x="889001" y="979012"/>
                  <a:pt x="899002" y="984013"/>
                </a:cubicBezTo>
                <a:cubicBezTo>
                  <a:pt x="916147" y="993299"/>
                  <a:pt x="931863" y="1005444"/>
                  <a:pt x="945436" y="1019731"/>
                </a:cubicBezTo>
                <a:cubicBezTo>
                  <a:pt x="1013302" y="1089740"/>
                  <a:pt x="1017588" y="1199754"/>
                  <a:pt x="956866" y="1274764"/>
                </a:cubicBezTo>
                <a:cubicBezTo>
                  <a:pt x="951866" y="1281193"/>
                  <a:pt x="946151" y="1286908"/>
                  <a:pt x="940436" y="1292623"/>
                </a:cubicBezTo>
                <a:cubicBezTo>
                  <a:pt x="934006" y="1298338"/>
                  <a:pt x="929720" y="1302624"/>
                  <a:pt x="924719" y="1306196"/>
                </a:cubicBezTo>
                <a:cubicBezTo>
                  <a:pt x="924719" y="1306196"/>
                  <a:pt x="924719" y="1306196"/>
                  <a:pt x="924005" y="1306196"/>
                </a:cubicBezTo>
                <a:cubicBezTo>
                  <a:pt x="891144" y="1331914"/>
                  <a:pt x="848996" y="1346201"/>
                  <a:pt x="806847" y="1346201"/>
                </a:cubicBezTo>
                <a:cubicBezTo>
                  <a:pt x="763270" y="1346201"/>
                  <a:pt x="722551" y="1332628"/>
                  <a:pt x="688975" y="1306196"/>
                </a:cubicBezTo>
                <a:cubicBezTo>
                  <a:pt x="681832" y="1300481"/>
                  <a:pt x="674688" y="1294052"/>
                  <a:pt x="667544" y="1287622"/>
                </a:cubicBezTo>
                <a:cubicBezTo>
                  <a:pt x="663972" y="1283336"/>
                  <a:pt x="660400" y="1279050"/>
                  <a:pt x="656828" y="1274764"/>
                </a:cubicBezTo>
                <a:cubicBezTo>
                  <a:pt x="613252" y="1221900"/>
                  <a:pt x="603250" y="1150462"/>
                  <a:pt x="625396" y="1088311"/>
                </a:cubicBezTo>
                <a:cubicBezTo>
                  <a:pt x="628968" y="1077596"/>
                  <a:pt x="633968" y="1066880"/>
                  <a:pt x="639683" y="1056879"/>
                </a:cubicBezTo>
                <a:cubicBezTo>
                  <a:pt x="648970" y="1041877"/>
                  <a:pt x="659686" y="1027589"/>
                  <a:pt x="673259" y="1014731"/>
                </a:cubicBezTo>
                <a:cubicBezTo>
                  <a:pt x="692547" y="995443"/>
                  <a:pt x="715407" y="981155"/>
                  <a:pt x="740410" y="972583"/>
                </a:cubicBezTo>
                <a:cubicBezTo>
                  <a:pt x="746840" y="969725"/>
                  <a:pt x="753269" y="968296"/>
                  <a:pt x="760413" y="966153"/>
                </a:cubicBezTo>
                <a:cubicBezTo>
                  <a:pt x="775415" y="962581"/>
                  <a:pt x="791131" y="960438"/>
                  <a:pt x="806847" y="960438"/>
                </a:cubicBezTo>
                <a:close/>
                <a:moveTo>
                  <a:pt x="152218" y="941388"/>
                </a:moveTo>
                <a:cubicBezTo>
                  <a:pt x="152218" y="941388"/>
                  <a:pt x="152218" y="941388"/>
                  <a:pt x="735013" y="941388"/>
                </a:cubicBezTo>
                <a:cubicBezTo>
                  <a:pt x="712900" y="948604"/>
                  <a:pt x="692926" y="959428"/>
                  <a:pt x="674380" y="973138"/>
                </a:cubicBezTo>
                <a:cubicBezTo>
                  <a:pt x="674380" y="973138"/>
                  <a:pt x="674380" y="973138"/>
                  <a:pt x="152218" y="973138"/>
                </a:cubicBezTo>
                <a:cubicBezTo>
                  <a:pt x="142945" y="973138"/>
                  <a:pt x="136525" y="965922"/>
                  <a:pt x="136525" y="957263"/>
                </a:cubicBezTo>
                <a:cubicBezTo>
                  <a:pt x="136525" y="948604"/>
                  <a:pt x="142945" y="941388"/>
                  <a:pt x="152218" y="941388"/>
                </a:cubicBezTo>
                <a:close/>
                <a:moveTo>
                  <a:pt x="152237" y="825500"/>
                </a:moveTo>
                <a:cubicBezTo>
                  <a:pt x="152237" y="825500"/>
                  <a:pt x="152237" y="825500"/>
                  <a:pt x="747876" y="825500"/>
                </a:cubicBezTo>
                <a:cubicBezTo>
                  <a:pt x="757160" y="825500"/>
                  <a:pt x="763588" y="832716"/>
                  <a:pt x="763588" y="841375"/>
                </a:cubicBezTo>
                <a:cubicBezTo>
                  <a:pt x="763588" y="850756"/>
                  <a:pt x="757160" y="857250"/>
                  <a:pt x="747876" y="857250"/>
                </a:cubicBezTo>
                <a:cubicBezTo>
                  <a:pt x="747876" y="857250"/>
                  <a:pt x="747876" y="857250"/>
                  <a:pt x="152237" y="857250"/>
                </a:cubicBezTo>
                <a:cubicBezTo>
                  <a:pt x="142953" y="857250"/>
                  <a:pt x="136525" y="850756"/>
                  <a:pt x="136525" y="841375"/>
                </a:cubicBezTo>
                <a:cubicBezTo>
                  <a:pt x="136525" y="832716"/>
                  <a:pt x="142953" y="825500"/>
                  <a:pt x="152237" y="825500"/>
                </a:cubicBezTo>
                <a:close/>
                <a:moveTo>
                  <a:pt x="152237" y="709613"/>
                </a:moveTo>
                <a:cubicBezTo>
                  <a:pt x="152237" y="709613"/>
                  <a:pt x="152237" y="709613"/>
                  <a:pt x="747876" y="709613"/>
                </a:cubicBezTo>
                <a:cubicBezTo>
                  <a:pt x="757160" y="709613"/>
                  <a:pt x="763588" y="716829"/>
                  <a:pt x="763588" y="725488"/>
                </a:cubicBezTo>
                <a:cubicBezTo>
                  <a:pt x="763588" y="734147"/>
                  <a:pt x="757160" y="741363"/>
                  <a:pt x="747876" y="741363"/>
                </a:cubicBezTo>
                <a:cubicBezTo>
                  <a:pt x="747876" y="741363"/>
                  <a:pt x="747876" y="741363"/>
                  <a:pt x="152237" y="741363"/>
                </a:cubicBezTo>
                <a:cubicBezTo>
                  <a:pt x="142953" y="741363"/>
                  <a:pt x="136525" y="734147"/>
                  <a:pt x="136525" y="725488"/>
                </a:cubicBezTo>
                <a:cubicBezTo>
                  <a:pt x="136525" y="716829"/>
                  <a:pt x="142953" y="709613"/>
                  <a:pt x="152237" y="709613"/>
                </a:cubicBezTo>
                <a:close/>
                <a:moveTo>
                  <a:pt x="152237" y="593725"/>
                </a:moveTo>
                <a:cubicBezTo>
                  <a:pt x="152237" y="593725"/>
                  <a:pt x="152237" y="593725"/>
                  <a:pt x="747876" y="593725"/>
                </a:cubicBezTo>
                <a:cubicBezTo>
                  <a:pt x="757160" y="593725"/>
                  <a:pt x="763588" y="600941"/>
                  <a:pt x="763588" y="609600"/>
                </a:cubicBezTo>
                <a:cubicBezTo>
                  <a:pt x="763588" y="618259"/>
                  <a:pt x="757160" y="625475"/>
                  <a:pt x="747876" y="625475"/>
                </a:cubicBezTo>
                <a:cubicBezTo>
                  <a:pt x="747876" y="625475"/>
                  <a:pt x="747876" y="625475"/>
                  <a:pt x="152237" y="625475"/>
                </a:cubicBezTo>
                <a:cubicBezTo>
                  <a:pt x="142953" y="625475"/>
                  <a:pt x="136525" y="618259"/>
                  <a:pt x="136525" y="609600"/>
                </a:cubicBezTo>
                <a:cubicBezTo>
                  <a:pt x="136525" y="600941"/>
                  <a:pt x="142953" y="593725"/>
                  <a:pt x="152237" y="593725"/>
                </a:cubicBezTo>
                <a:close/>
                <a:moveTo>
                  <a:pt x="152237" y="477838"/>
                </a:moveTo>
                <a:cubicBezTo>
                  <a:pt x="152237" y="477838"/>
                  <a:pt x="152237" y="477838"/>
                  <a:pt x="747876" y="477838"/>
                </a:cubicBezTo>
                <a:cubicBezTo>
                  <a:pt x="757160" y="477838"/>
                  <a:pt x="763588" y="484332"/>
                  <a:pt x="763588" y="493713"/>
                </a:cubicBezTo>
                <a:cubicBezTo>
                  <a:pt x="763588" y="502372"/>
                  <a:pt x="757160" y="509588"/>
                  <a:pt x="747876" y="509588"/>
                </a:cubicBezTo>
                <a:cubicBezTo>
                  <a:pt x="747876" y="509588"/>
                  <a:pt x="747876" y="509588"/>
                  <a:pt x="152237" y="509588"/>
                </a:cubicBezTo>
                <a:cubicBezTo>
                  <a:pt x="142953" y="509588"/>
                  <a:pt x="136525" y="502372"/>
                  <a:pt x="136525" y="493713"/>
                </a:cubicBezTo>
                <a:cubicBezTo>
                  <a:pt x="136525" y="484332"/>
                  <a:pt x="142953" y="477838"/>
                  <a:pt x="152237" y="477838"/>
                </a:cubicBezTo>
                <a:close/>
                <a:moveTo>
                  <a:pt x="152237" y="361950"/>
                </a:moveTo>
                <a:cubicBezTo>
                  <a:pt x="152237" y="361950"/>
                  <a:pt x="152237" y="361950"/>
                  <a:pt x="747876" y="361950"/>
                </a:cubicBezTo>
                <a:cubicBezTo>
                  <a:pt x="757160" y="361950"/>
                  <a:pt x="763588" y="369166"/>
                  <a:pt x="763588" y="377825"/>
                </a:cubicBezTo>
                <a:cubicBezTo>
                  <a:pt x="763588" y="386484"/>
                  <a:pt x="757160" y="393700"/>
                  <a:pt x="747876" y="393700"/>
                </a:cubicBezTo>
                <a:cubicBezTo>
                  <a:pt x="747876" y="393700"/>
                  <a:pt x="747876" y="393700"/>
                  <a:pt x="152237" y="393700"/>
                </a:cubicBezTo>
                <a:cubicBezTo>
                  <a:pt x="142953" y="393700"/>
                  <a:pt x="136525" y="386484"/>
                  <a:pt x="136525" y="377825"/>
                </a:cubicBezTo>
                <a:cubicBezTo>
                  <a:pt x="136525" y="369166"/>
                  <a:pt x="142953" y="361950"/>
                  <a:pt x="152237" y="361950"/>
                </a:cubicBezTo>
                <a:close/>
                <a:moveTo>
                  <a:pt x="625475" y="114300"/>
                </a:moveTo>
                <a:cubicBezTo>
                  <a:pt x="625475" y="114300"/>
                  <a:pt x="625475" y="114300"/>
                  <a:pt x="882800" y="114300"/>
                </a:cubicBezTo>
                <a:cubicBezTo>
                  <a:pt x="892092" y="114300"/>
                  <a:pt x="898525" y="121437"/>
                  <a:pt x="898525" y="130001"/>
                </a:cubicBezTo>
                <a:cubicBezTo>
                  <a:pt x="898525" y="130001"/>
                  <a:pt x="898525" y="130001"/>
                  <a:pt x="898525" y="949325"/>
                </a:cubicBezTo>
                <a:cubicBezTo>
                  <a:pt x="888518" y="945043"/>
                  <a:pt x="878511" y="940761"/>
                  <a:pt x="867074" y="937906"/>
                </a:cubicBezTo>
                <a:cubicBezTo>
                  <a:pt x="867074" y="937906"/>
                  <a:pt x="867074" y="937906"/>
                  <a:pt x="867074" y="145703"/>
                </a:cubicBezTo>
                <a:cubicBezTo>
                  <a:pt x="867074" y="145703"/>
                  <a:pt x="867074" y="145703"/>
                  <a:pt x="625475" y="145703"/>
                </a:cubicBezTo>
                <a:cubicBezTo>
                  <a:pt x="625475" y="145703"/>
                  <a:pt x="625475" y="145703"/>
                  <a:pt x="625475" y="114300"/>
                </a:cubicBezTo>
                <a:close/>
                <a:moveTo>
                  <a:pt x="15734" y="114300"/>
                </a:moveTo>
                <a:cubicBezTo>
                  <a:pt x="15734" y="114300"/>
                  <a:pt x="15734" y="114300"/>
                  <a:pt x="273195" y="114300"/>
                </a:cubicBezTo>
                <a:cubicBezTo>
                  <a:pt x="273195" y="114300"/>
                  <a:pt x="273195" y="114300"/>
                  <a:pt x="273195" y="145712"/>
                </a:cubicBezTo>
                <a:cubicBezTo>
                  <a:pt x="273195" y="145712"/>
                  <a:pt x="273195" y="145712"/>
                  <a:pt x="31468" y="145712"/>
                </a:cubicBezTo>
                <a:cubicBezTo>
                  <a:pt x="31468" y="145712"/>
                  <a:pt x="31468" y="145712"/>
                  <a:pt x="31468" y="1275102"/>
                </a:cubicBezTo>
                <a:cubicBezTo>
                  <a:pt x="31468" y="1275102"/>
                  <a:pt x="31468" y="1275102"/>
                  <a:pt x="618622" y="1275102"/>
                </a:cubicBezTo>
                <a:cubicBezTo>
                  <a:pt x="625774" y="1286524"/>
                  <a:pt x="633641" y="1297232"/>
                  <a:pt x="642938" y="1306513"/>
                </a:cubicBezTo>
                <a:cubicBezTo>
                  <a:pt x="642938" y="1306513"/>
                  <a:pt x="642938" y="1306513"/>
                  <a:pt x="15734" y="1306513"/>
                </a:cubicBezTo>
                <a:cubicBezTo>
                  <a:pt x="6437" y="1306513"/>
                  <a:pt x="0" y="1300088"/>
                  <a:pt x="0" y="1290807"/>
                </a:cubicBezTo>
                <a:cubicBezTo>
                  <a:pt x="0" y="1290807"/>
                  <a:pt x="0" y="1290807"/>
                  <a:pt x="0" y="130006"/>
                </a:cubicBezTo>
                <a:cubicBezTo>
                  <a:pt x="0" y="121439"/>
                  <a:pt x="6437" y="114300"/>
                  <a:pt x="15734" y="114300"/>
                </a:cubicBezTo>
                <a:close/>
                <a:moveTo>
                  <a:pt x="449263" y="31750"/>
                </a:moveTo>
                <a:cubicBezTo>
                  <a:pt x="441427" y="31750"/>
                  <a:pt x="434304" y="33176"/>
                  <a:pt x="427180" y="35314"/>
                </a:cubicBezTo>
                <a:cubicBezTo>
                  <a:pt x="412933" y="41016"/>
                  <a:pt x="400824" y="52420"/>
                  <a:pt x="393700" y="66675"/>
                </a:cubicBezTo>
                <a:cubicBezTo>
                  <a:pt x="393700" y="66675"/>
                  <a:pt x="393700" y="66675"/>
                  <a:pt x="504825" y="66675"/>
                </a:cubicBezTo>
                <a:cubicBezTo>
                  <a:pt x="497702" y="52420"/>
                  <a:pt x="485592" y="41016"/>
                  <a:pt x="471345" y="35314"/>
                </a:cubicBezTo>
                <a:cubicBezTo>
                  <a:pt x="464222" y="33176"/>
                  <a:pt x="457098" y="31750"/>
                  <a:pt x="449263" y="31750"/>
                </a:cubicBezTo>
                <a:close/>
                <a:moveTo>
                  <a:pt x="449262" y="0"/>
                </a:moveTo>
                <a:cubicBezTo>
                  <a:pt x="478615" y="0"/>
                  <a:pt x="505105" y="13529"/>
                  <a:pt x="522287" y="34890"/>
                </a:cubicBezTo>
                <a:cubicBezTo>
                  <a:pt x="529447" y="44147"/>
                  <a:pt x="535174" y="54827"/>
                  <a:pt x="538754" y="66220"/>
                </a:cubicBezTo>
                <a:cubicBezTo>
                  <a:pt x="538754" y="66220"/>
                  <a:pt x="538754" y="66220"/>
                  <a:pt x="588153" y="66220"/>
                </a:cubicBezTo>
                <a:cubicBezTo>
                  <a:pt x="591733" y="66220"/>
                  <a:pt x="595312" y="69068"/>
                  <a:pt x="595312" y="73340"/>
                </a:cubicBezTo>
                <a:cubicBezTo>
                  <a:pt x="595312" y="73340"/>
                  <a:pt x="595312" y="73340"/>
                  <a:pt x="595312" y="113927"/>
                </a:cubicBezTo>
                <a:cubicBezTo>
                  <a:pt x="595312" y="113927"/>
                  <a:pt x="595312" y="113927"/>
                  <a:pt x="595312" y="145256"/>
                </a:cubicBezTo>
                <a:cubicBezTo>
                  <a:pt x="595312" y="145256"/>
                  <a:pt x="595312" y="145256"/>
                  <a:pt x="595312" y="178010"/>
                </a:cubicBezTo>
                <a:cubicBezTo>
                  <a:pt x="595312" y="186555"/>
                  <a:pt x="588153" y="193675"/>
                  <a:pt x="579562" y="193675"/>
                </a:cubicBezTo>
                <a:cubicBezTo>
                  <a:pt x="579562" y="193675"/>
                  <a:pt x="579562" y="193675"/>
                  <a:pt x="318963" y="193675"/>
                </a:cubicBezTo>
                <a:cubicBezTo>
                  <a:pt x="310372" y="193675"/>
                  <a:pt x="303212" y="186555"/>
                  <a:pt x="303212" y="178010"/>
                </a:cubicBezTo>
                <a:cubicBezTo>
                  <a:pt x="303212" y="178010"/>
                  <a:pt x="303212" y="178010"/>
                  <a:pt x="303212" y="145256"/>
                </a:cubicBezTo>
                <a:cubicBezTo>
                  <a:pt x="303212" y="145256"/>
                  <a:pt x="303212" y="145256"/>
                  <a:pt x="303212" y="113927"/>
                </a:cubicBezTo>
                <a:cubicBezTo>
                  <a:pt x="303212" y="113927"/>
                  <a:pt x="303212" y="113927"/>
                  <a:pt x="303212" y="73340"/>
                </a:cubicBezTo>
                <a:cubicBezTo>
                  <a:pt x="303212" y="69068"/>
                  <a:pt x="306792" y="66220"/>
                  <a:pt x="310372" y="66220"/>
                </a:cubicBezTo>
                <a:cubicBezTo>
                  <a:pt x="310372" y="66220"/>
                  <a:pt x="310372" y="66220"/>
                  <a:pt x="359771" y="66220"/>
                </a:cubicBezTo>
                <a:cubicBezTo>
                  <a:pt x="363350" y="54827"/>
                  <a:pt x="369078" y="44147"/>
                  <a:pt x="376237" y="34890"/>
                </a:cubicBezTo>
                <a:cubicBezTo>
                  <a:pt x="393420" y="13529"/>
                  <a:pt x="419909" y="0"/>
                  <a:pt x="449262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629400" y="3696399"/>
            <a:ext cx="10933799" cy="0"/>
          </a:xfrm>
          <a:prstGeom prst="line">
            <a:avLst/>
          </a:prstGeom>
          <a:ln w="9525">
            <a:solidFill>
              <a:srgbClr val="7F7F7F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629400" y="4512350"/>
            <a:ext cx="10933799" cy="0"/>
          </a:xfrm>
          <a:prstGeom prst="line">
            <a:avLst/>
          </a:prstGeom>
          <a:ln w="9525">
            <a:solidFill>
              <a:srgbClr val="7F7F7F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629400" y="5180794"/>
            <a:ext cx="10933799" cy="0"/>
          </a:xfrm>
          <a:prstGeom prst="line">
            <a:avLst/>
          </a:prstGeom>
          <a:ln w="9525">
            <a:solidFill>
              <a:srgbClr val="7F7F7F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29559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2"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1088000" cy="941796"/>
          </a:xfrm>
        </p:spPr>
        <p:txBody>
          <a:bodyPr/>
          <a:lstStyle/>
          <a:p>
            <a:r>
              <a:rPr lang="en-US" dirty="0"/>
              <a:t>Redesigned sourcing process will be focused on agile execution and robust negotiation stages</a:t>
            </a:r>
          </a:p>
        </p:txBody>
      </p:sp>
      <p:sp>
        <p:nvSpPr>
          <p:cNvPr id="40" name="ee4pHeader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03872" y="1803393"/>
            <a:ext cx="2819451" cy="478826"/>
          </a:xfrm>
          <a:prstGeom prst="homePlate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evelop negotiating positions/sourcing docs.</a:t>
            </a:r>
          </a:p>
        </p:txBody>
      </p:sp>
      <p:sp>
        <p:nvSpPr>
          <p:cNvPr id="41" name="ee4pHeader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23323" y="1803393"/>
            <a:ext cx="2185742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efine &amp; send </a:t>
            </a:r>
            <a:r>
              <a:rPr lang="en-US" sz="1400" dirty="0" err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Fx</a:t>
            </a:r>
            <a:endParaRPr lang="en-US" sz="14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2" name="ee4pHeader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409065" y="1803393"/>
            <a:ext cx="2185742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valuate responses /</a:t>
            </a:r>
            <a:b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bids &amp; shortlist</a:t>
            </a:r>
          </a:p>
        </p:txBody>
      </p:sp>
      <p:sp>
        <p:nvSpPr>
          <p:cNvPr id="43" name="ee4pHeader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94807" y="1803393"/>
            <a:ext cx="1179903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et up negotiations</a:t>
            </a:r>
          </a:p>
        </p:txBody>
      </p:sp>
      <p:sp>
        <p:nvSpPr>
          <p:cNvPr id="44" name="ee4pHeader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774710" y="1803393"/>
            <a:ext cx="2199048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Negotiate and awar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89300" y="2167000"/>
            <a:ext cx="919293" cy="1684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Responsible</a:t>
            </a:r>
          </a:p>
        </p:txBody>
      </p:sp>
      <p:sp>
        <p:nvSpPr>
          <p:cNvPr id="6" name="TextColumnContent"/>
          <p:cNvSpPr>
            <a:spLocks noChangeArrowheads="1"/>
          </p:cNvSpPr>
          <p:nvPr/>
        </p:nvSpPr>
        <p:spPr bwMode="gray">
          <a:xfrm>
            <a:off x="389300" y="3102594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ategory leader/</a:t>
            </a:r>
            <a:b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pecialist</a:t>
            </a:r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389300" y="4723174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Technical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uthority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431337" y="3145267"/>
            <a:ext cx="0" cy="59746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2124613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Develop supplier evaluation criteria,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KPIs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, and vendor list</a:t>
            </a:r>
          </a:p>
        </p:txBody>
      </p:sp>
      <p:sp>
        <p:nvSpPr>
          <p:cNvPr id="10" name="TextColumnContent"/>
          <p:cNvSpPr>
            <a:spLocks noChangeArrowheads="1"/>
          </p:cNvSpPr>
          <p:nvPr/>
        </p:nvSpPr>
        <p:spPr bwMode="gray">
          <a:xfrm>
            <a:off x="1554206" y="476584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efine technical specifications for sourcing</a:t>
            </a: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4310355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ublish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Fx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 or carry out live auction</a:t>
            </a: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6496097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Evaluate bids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not technical)</a:t>
            </a:r>
          </a:p>
        </p:txBody>
      </p:sp>
      <p:sp>
        <p:nvSpPr>
          <p:cNvPr id="13" name="TextColumnContent"/>
          <p:cNvSpPr>
            <a:spLocks noChangeArrowheads="1"/>
          </p:cNvSpPr>
          <p:nvPr/>
        </p:nvSpPr>
        <p:spPr bwMode="gray">
          <a:xfrm>
            <a:off x="5403226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nswer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Fx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clarifications and receive bids</a:t>
            </a:r>
          </a:p>
        </p:txBody>
      </p:sp>
      <p:sp>
        <p:nvSpPr>
          <p:cNvPr id="14" name="TextColumnContent"/>
          <p:cNvSpPr>
            <a:spLocks noChangeArrowheads="1"/>
          </p:cNvSpPr>
          <p:nvPr/>
        </p:nvSpPr>
        <p:spPr bwMode="gray">
          <a:xfrm>
            <a:off x="7588968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efine vendor shortlist to initiate negotiations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1431337" y="4765847"/>
            <a:ext cx="0" cy="59746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630000" y="4223900"/>
            <a:ext cx="919293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endParaRPr lang="en-US" sz="1200" dirty="0">
              <a:solidFill>
                <a:srgbClr val="B61872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ColumnContent"/>
          <p:cNvSpPr>
            <a:spLocks noChangeArrowheads="1"/>
          </p:cNvSpPr>
          <p:nvPr/>
        </p:nvSpPr>
        <p:spPr bwMode="gray">
          <a:xfrm>
            <a:off x="389300" y="3912884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User area approver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according to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oA</a:t>
            </a: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)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1431337" y="3955557"/>
            <a:ext cx="0" cy="59746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Elbow Connector 18"/>
          <p:cNvCxnSpPr>
            <a:stCxn id="9" idx="2"/>
            <a:endCxn id="56" idx="1"/>
          </p:cNvCxnSpPr>
          <p:nvPr/>
        </p:nvCxnSpPr>
        <p:spPr>
          <a:xfrm rot="16200000" flipH="1">
            <a:off x="1583221" y="4787042"/>
            <a:ext cx="2132141" cy="43516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ColumnContent"/>
          <p:cNvSpPr>
            <a:spLocks noChangeArrowheads="1"/>
          </p:cNvSpPr>
          <p:nvPr/>
        </p:nvSpPr>
        <p:spPr bwMode="gray">
          <a:xfrm>
            <a:off x="3217484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repare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Fx</a:t>
            </a:r>
            <a:endParaRPr lang="en-US" sz="10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8681839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repare negotiation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(meetings, roles, tools)</a:t>
            </a:r>
          </a:p>
        </p:txBody>
      </p:sp>
      <p:sp>
        <p:nvSpPr>
          <p:cNvPr id="23" name="TextColumnContent"/>
          <p:cNvSpPr>
            <a:spLocks noChangeArrowheads="1"/>
          </p:cNvSpPr>
          <p:nvPr/>
        </p:nvSpPr>
        <p:spPr bwMode="gray">
          <a:xfrm>
            <a:off x="10323885" y="395555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</a:rPr>
              <a:t>Award contract</a:t>
            </a:r>
          </a:p>
        </p:txBody>
      </p:sp>
      <p:sp>
        <p:nvSpPr>
          <p:cNvPr id="24" name="TextColumnContent"/>
          <p:cNvSpPr>
            <a:spLocks noChangeArrowheads="1"/>
          </p:cNvSpPr>
          <p:nvPr/>
        </p:nvSpPr>
        <p:spPr bwMode="gray">
          <a:xfrm>
            <a:off x="9774710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nduct negotiation</a:t>
            </a:r>
          </a:p>
        </p:txBody>
      </p:sp>
      <p:cxnSp>
        <p:nvCxnSpPr>
          <p:cNvPr id="25" name="Elbow Connector 24"/>
          <p:cNvCxnSpPr>
            <a:stCxn id="24" idx="2"/>
            <a:endCxn id="23" idx="1"/>
          </p:cNvCxnSpPr>
          <p:nvPr/>
        </p:nvCxnSpPr>
        <p:spPr>
          <a:xfrm rot="16200000" flipH="1">
            <a:off x="10044978" y="3975381"/>
            <a:ext cx="511559" cy="46255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23" idx="3"/>
            <a:endCxn id="27" idx="2"/>
          </p:cNvCxnSpPr>
          <p:nvPr/>
        </p:nvCxnSpPr>
        <p:spPr>
          <a:xfrm flipV="1">
            <a:off x="11329725" y="3742730"/>
            <a:ext cx="40779" cy="511559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ColumnContent"/>
          <p:cNvSpPr>
            <a:spLocks noChangeArrowheads="1"/>
          </p:cNvSpPr>
          <p:nvPr/>
        </p:nvSpPr>
        <p:spPr bwMode="gray">
          <a:xfrm>
            <a:off x="10867584" y="314526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</a:rPr>
              <a:t>Create contract document</a:t>
            </a:r>
          </a:p>
        </p:txBody>
      </p:sp>
      <p:sp>
        <p:nvSpPr>
          <p:cNvPr id="28" name="TextColumnContent"/>
          <p:cNvSpPr>
            <a:spLocks noChangeArrowheads="1"/>
          </p:cNvSpPr>
          <p:nvPr/>
        </p:nvSpPr>
        <p:spPr bwMode="gray">
          <a:xfrm>
            <a:off x="10967918" y="2334976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</a:rPr>
              <a:t>Sign contract document</a:t>
            </a:r>
          </a:p>
        </p:txBody>
      </p:sp>
      <p:sp>
        <p:nvSpPr>
          <p:cNvPr id="29" name="TextColumnContent"/>
          <p:cNvSpPr>
            <a:spLocks noChangeArrowheads="1"/>
          </p:cNvSpPr>
          <p:nvPr/>
        </p:nvSpPr>
        <p:spPr bwMode="gray">
          <a:xfrm>
            <a:off x="6496097" y="4765847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Evaluate bids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technical)</a:t>
            </a:r>
          </a:p>
        </p:txBody>
      </p:sp>
      <p:cxnSp>
        <p:nvCxnSpPr>
          <p:cNvPr id="30" name="Elbow Connector 29"/>
          <p:cNvCxnSpPr>
            <a:stCxn id="13" idx="2"/>
            <a:endCxn id="29" idx="1"/>
          </p:cNvCxnSpPr>
          <p:nvPr/>
        </p:nvCxnSpPr>
        <p:spPr>
          <a:xfrm rot="16200000" flipH="1">
            <a:off x="5540197" y="4108678"/>
            <a:ext cx="1321849" cy="589951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29" idx="3"/>
            <a:endCxn id="14" idx="2"/>
          </p:cNvCxnSpPr>
          <p:nvPr/>
        </p:nvCxnSpPr>
        <p:spPr>
          <a:xfrm flipV="1">
            <a:off x="7501937" y="3742730"/>
            <a:ext cx="589951" cy="1321849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87"/>
          <p:cNvCxnSpPr>
            <a:stCxn id="9" idx="3"/>
            <a:endCxn id="20" idx="1"/>
          </p:cNvCxnSpPr>
          <p:nvPr/>
        </p:nvCxnSpPr>
        <p:spPr>
          <a:xfrm>
            <a:off x="3130453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87"/>
          <p:cNvCxnSpPr>
            <a:stCxn id="20" idx="3"/>
            <a:endCxn id="11" idx="1"/>
          </p:cNvCxnSpPr>
          <p:nvPr/>
        </p:nvCxnSpPr>
        <p:spPr>
          <a:xfrm>
            <a:off x="4223324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87"/>
          <p:cNvCxnSpPr>
            <a:stCxn id="11" idx="3"/>
            <a:endCxn id="13" idx="1"/>
          </p:cNvCxnSpPr>
          <p:nvPr/>
        </p:nvCxnSpPr>
        <p:spPr>
          <a:xfrm>
            <a:off x="5316195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87"/>
          <p:cNvCxnSpPr>
            <a:stCxn id="13" idx="3"/>
            <a:endCxn id="12" idx="1"/>
          </p:cNvCxnSpPr>
          <p:nvPr/>
        </p:nvCxnSpPr>
        <p:spPr>
          <a:xfrm>
            <a:off x="6409066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87"/>
          <p:cNvCxnSpPr>
            <a:stCxn id="12" idx="3"/>
            <a:endCxn id="14" idx="1"/>
          </p:cNvCxnSpPr>
          <p:nvPr/>
        </p:nvCxnSpPr>
        <p:spPr>
          <a:xfrm>
            <a:off x="7501937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87"/>
          <p:cNvCxnSpPr>
            <a:stCxn id="14" idx="3"/>
            <a:endCxn id="22" idx="1"/>
          </p:cNvCxnSpPr>
          <p:nvPr/>
        </p:nvCxnSpPr>
        <p:spPr>
          <a:xfrm>
            <a:off x="8594808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87"/>
          <p:cNvCxnSpPr>
            <a:stCxn id="22" idx="3"/>
            <a:endCxn id="24" idx="1"/>
          </p:cNvCxnSpPr>
          <p:nvPr/>
        </p:nvCxnSpPr>
        <p:spPr>
          <a:xfrm>
            <a:off x="9687679" y="3443999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27" idx="0"/>
            <a:endCxn id="28" idx="2"/>
          </p:cNvCxnSpPr>
          <p:nvPr/>
        </p:nvCxnSpPr>
        <p:spPr>
          <a:xfrm rot="5400000" flipH="1" flipV="1">
            <a:off x="11314257" y="2988686"/>
            <a:ext cx="212828" cy="100334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ColumnContent"/>
          <p:cNvSpPr>
            <a:spLocks noChangeArrowheads="1"/>
          </p:cNvSpPr>
          <p:nvPr/>
        </p:nvSpPr>
        <p:spPr bwMode="gray">
          <a:xfrm>
            <a:off x="389300" y="2292304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Legal rep.</a:t>
            </a:r>
            <a:b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according to</a:t>
            </a:r>
          </a:p>
          <a:p>
            <a:pPr fontAlgn="base">
              <a:buClr>
                <a:srgbClr val="177B57"/>
              </a:buClr>
              <a:buSzPct val="100000"/>
            </a:pPr>
            <a:r>
              <a:rPr lang="en-US" sz="1200" dirty="0" err="1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oA</a:t>
            </a: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)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1431337" y="2334976"/>
            <a:ext cx="0" cy="59746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2" name="TextColumnContent"/>
          <p:cNvSpPr>
            <a:spLocks noChangeArrowheads="1"/>
          </p:cNvSpPr>
          <p:nvPr/>
        </p:nvSpPr>
        <p:spPr bwMode="gray">
          <a:xfrm>
            <a:off x="389300" y="5533466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 err="1">
                <a:solidFill>
                  <a:srgbClr val="38468F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JOA</a:t>
            </a:r>
            <a:endParaRPr lang="en-US" sz="1200" dirty="0">
              <a:solidFill>
                <a:srgbClr val="38468F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48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ource: 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CM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Frontera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; team analysis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1431337" y="5576139"/>
            <a:ext cx="0" cy="59746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6" name="TextColumnContent"/>
          <p:cNvSpPr>
            <a:spLocks noChangeArrowheads="1"/>
          </p:cNvSpPr>
          <p:nvPr/>
        </p:nvSpPr>
        <p:spPr bwMode="gray">
          <a:xfrm>
            <a:off x="2671049" y="557613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pprove sourcing strategy</a:t>
            </a:r>
          </a:p>
        </p:txBody>
      </p:sp>
      <p:cxnSp>
        <p:nvCxnSpPr>
          <p:cNvPr id="63" name="Elbow Connector 62"/>
          <p:cNvCxnSpPr>
            <a:stCxn id="56" idx="3"/>
            <a:endCxn id="20" idx="2"/>
          </p:cNvCxnSpPr>
          <p:nvPr/>
        </p:nvCxnSpPr>
        <p:spPr>
          <a:xfrm flipV="1">
            <a:off x="3676889" y="3742730"/>
            <a:ext cx="43515" cy="2132141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stCxn id="23" idx="2"/>
            <a:endCxn id="69" idx="1"/>
          </p:cNvCxnSpPr>
          <p:nvPr/>
        </p:nvCxnSpPr>
        <p:spPr>
          <a:xfrm rot="5400000">
            <a:off x="9916995" y="4965060"/>
            <a:ext cx="1321851" cy="497770"/>
          </a:xfrm>
          <a:prstGeom prst="bentConnector4">
            <a:avLst>
              <a:gd name="adj1" fmla="val 38700"/>
              <a:gd name="adj2" fmla="val 145925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ColumnContent"/>
          <p:cNvSpPr>
            <a:spLocks noChangeArrowheads="1"/>
          </p:cNvSpPr>
          <p:nvPr/>
        </p:nvSpPr>
        <p:spPr bwMode="gray">
          <a:xfrm>
            <a:off x="10329035" y="557613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pprove contract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ward</a:t>
            </a:r>
          </a:p>
        </p:txBody>
      </p:sp>
      <p:cxnSp>
        <p:nvCxnSpPr>
          <p:cNvPr id="72" name="Elbow Connector 71"/>
          <p:cNvCxnSpPr>
            <a:stCxn id="69" idx="3"/>
            <a:endCxn id="27" idx="2"/>
          </p:cNvCxnSpPr>
          <p:nvPr/>
        </p:nvCxnSpPr>
        <p:spPr>
          <a:xfrm flipV="1">
            <a:off x="11334875" y="3742730"/>
            <a:ext cx="35629" cy="2132141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Diamond 78"/>
          <p:cNvSpPr/>
          <p:nvPr/>
        </p:nvSpPr>
        <p:spPr>
          <a:xfrm>
            <a:off x="8067236" y="6471240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0" name="TextColumnContent"/>
          <p:cNvSpPr>
            <a:spLocks noChangeArrowheads="1"/>
          </p:cNvSpPr>
          <p:nvPr/>
        </p:nvSpPr>
        <p:spPr bwMode="gray">
          <a:xfrm>
            <a:off x="8222252" y="6433927"/>
            <a:ext cx="1237249" cy="240925"/>
          </a:xfrm>
          <a:prstGeom prst="rect">
            <a:avLst/>
          </a:prstGeom>
          <a:noFill/>
          <a:ln w="9049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049" cap="flat" cmpd="sng" algn="ctr">
                <a:solidFill>
                  <a:srgbClr val="B6187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ontrol mechanism</a:t>
            </a:r>
          </a:p>
        </p:txBody>
      </p:sp>
      <p:sp>
        <p:nvSpPr>
          <p:cNvPr id="81" name="Diamond 80"/>
          <p:cNvSpPr/>
          <p:nvPr/>
        </p:nvSpPr>
        <p:spPr>
          <a:xfrm>
            <a:off x="3485711" y="5992575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2" name="Diamond 81"/>
          <p:cNvSpPr/>
          <p:nvPr/>
        </p:nvSpPr>
        <p:spPr>
          <a:xfrm>
            <a:off x="11146845" y="5992575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3" name="Diamond 82"/>
          <p:cNvSpPr/>
          <p:nvPr/>
        </p:nvSpPr>
        <p:spPr>
          <a:xfrm>
            <a:off x="11146845" y="4365104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4" name="Diamond 83"/>
          <p:cNvSpPr/>
          <p:nvPr/>
        </p:nvSpPr>
        <p:spPr>
          <a:xfrm>
            <a:off x="7322268" y="3574529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85" name="Elbow Connector 84"/>
          <p:cNvCxnSpPr>
            <a:stCxn id="10" idx="0"/>
            <a:endCxn id="9" idx="1"/>
          </p:cNvCxnSpPr>
          <p:nvPr/>
        </p:nvCxnSpPr>
        <p:spPr>
          <a:xfrm rot="5400000" flipH="1" flipV="1">
            <a:off x="1429945" y="4071180"/>
            <a:ext cx="1321848" cy="67487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ColumnContent"/>
          <p:cNvSpPr>
            <a:spLocks noChangeArrowheads="1"/>
          </p:cNvSpPr>
          <p:nvPr/>
        </p:nvSpPr>
        <p:spPr bwMode="gray">
          <a:xfrm>
            <a:off x="6774452" y="3766351"/>
            <a:ext cx="1237249" cy="189206"/>
          </a:xfrm>
          <a:prstGeom prst="rect">
            <a:avLst/>
          </a:prstGeom>
          <a:noFill/>
          <a:ln w="9049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049" cap="flat" cmpd="sng" algn="ctr">
                <a:solidFill>
                  <a:srgbClr val="B6187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ue diligence</a:t>
            </a:r>
          </a:p>
        </p:txBody>
      </p:sp>
      <p:sp>
        <p:nvSpPr>
          <p:cNvPr id="65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7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68" name="NavigationIcon"/>
          <p:cNvSpPr>
            <a:spLocks noChangeAspect="1"/>
          </p:cNvSpPr>
          <p:nvPr/>
        </p:nvSpPr>
        <p:spPr bwMode="auto">
          <a:xfrm>
            <a:off x="11737636" y="132877"/>
            <a:ext cx="271576" cy="365760"/>
          </a:xfrm>
          <a:custGeom>
            <a:avLst/>
            <a:gdLst>
              <a:gd name="connsiteX0" fmla="*/ 926427 w 999551"/>
              <a:gd name="connsiteY0" fmla="*/ 1074664 h 1346201"/>
              <a:gd name="connsiteX1" fmla="*/ 915066 w 999551"/>
              <a:gd name="connsiteY1" fmla="*/ 1078848 h 1346201"/>
              <a:gd name="connsiteX2" fmla="*/ 898607 w 999551"/>
              <a:gd name="connsiteY2" fmla="*/ 1094518 h 1346201"/>
              <a:gd name="connsiteX3" fmla="*/ 867121 w 999551"/>
              <a:gd name="connsiteY3" fmla="*/ 1124433 h 1346201"/>
              <a:gd name="connsiteX4" fmla="*/ 764073 w 999551"/>
              <a:gd name="connsiteY4" fmla="*/ 1223437 h 1346201"/>
              <a:gd name="connsiteX5" fmla="*/ 695375 w 999551"/>
              <a:gd name="connsiteY5" fmla="*/ 1155060 h 1346201"/>
              <a:gd name="connsiteX6" fmla="*/ 673191 w 999551"/>
              <a:gd name="connsiteY6" fmla="*/ 1155060 h 1346201"/>
              <a:gd name="connsiteX7" fmla="*/ 673191 w 999551"/>
              <a:gd name="connsiteY7" fmla="*/ 1177140 h 1346201"/>
              <a:gd name="connsiteX8" fmla="*/ 752623 w 999551"/>
              <a:gd name="connsiteY8" fmla="*/ 1256202 h 1346201"/>
              <a:gd name="connsiteX9" fmla="*/ 763357 w 999551"/>
              <a:gd name="connsiteY9" fmla="*/ 1260475 h 1346201"/>
              <a:gd name="connsiteX10" fmla="*/ 774092 w 999551"/>
              <a:gd name="connsiteY10" fmla="*/ 1256202 h 1346201"/>
              <a:gd name="connsiteX11" fmla="*/ 867121 w 999551"/>
              <a:gd name="connsiteY11" fmla="*/ 1167881 h 1346201"/>
              <a:gd name="connsiteX12" fmla="*/ 898607 w 999551"/>
              <a:gd name="connsiteY12" fmla="*/ 1137966 h 1346201"/>
              <a:gd name="connsiteX13" fmla="*/ 936535 w 999551"/>
              <a:gd name="connsiteY13" fmla="*/ 1101641 h 1346201"/>
              <a:gd name="connsiteX14" fmla="*/ 937250 w 999551"/>
              <a:gd name="connsiteY14" fmla="*/ 1079560 h 1346201"/>
              <a:gd name="connsiteX15" fmla="*/ 926427 w 999551"/>
              <a:gd name="connsiteY15" fmla="*/ 1074664 h 1346201"/>
              <a:gd name="connsiteX16" fmla="*/ 152230 w 999551"/>
              <a:gd name="connsiteY16" fmla="*/ 1057275 h 1346201"/>
              <a:gd name="connsiteX17" fmla="*/ 604838 w 999551"/>
              <a:gd name="connsiteY17" fmla="*/ 1057275 h 1346201"/>
              <a:gd name="connsiteX18" fmla="*/ 592702 w 999551"/>
              <a:gd name="connsiteY18" fmla="*/ 1089025 h 1346201"/>
              <a:gd name="connsiteX19" fmla="*/ 152230 w 999551"/>
              <a:gd name="connsiteY19" fmla="*/ 1089025 h 1346201"/>
              <a:gd name="connsiteX20" fmla="*/ 136525 w 999551"/>
              <a:gd name="connsiteY20" fmla="*/ 1073150 h 1346201"/>
              <a:gd name="connsiteX21" fmla="*/ 152230 w 999551"/>
              <a:gd name="connsiteY21" fmla="*/ 1057275 h 1346201"/>
              <a:gd name="connsiteX22" fmla="*/ 806847 w 999551"/>
              <a:gd name="connsiteY22" fmla="*/ 960438 h 1346201"/>
              <a:gd name="connsiteX23" fmla="*/ 867569 w 999551"/>
              <a:gd name="connsiteY23" fmla="*/ 970439 h 1346201"/>
              <a:gd name="connsiteX24" fmla="*/ 899002 w 999551"/>
              <a:gd name="connsiteY24" fmla="*/ 984013 h 1346201"/>
              <a:gd name="connsiteX25" fmla="*/ 945436 w 999551"/>
              <a:gd name="connsiteY25" fmla="*/ 1019731 h 1346201"/>
              <a:gd name="connsiteX26" fmla="*/ 956866 w 999551"/>
              <a:gd name="connsiteY26" fmla="*/ 1274764 h 1346201"/>
              <a:gd name="connsiteX27" fmla="*/ 940436 w 999551"/>
              <a:gd name="connsiteY27" fmla="*/ 1292623 h 1346201"/>
              <a:gd name="connsiteX28" fmla="*/ 924719 w 999551"/>
              <a:gd name="connsiteY28" fmla="*/ 1306196 h 1346201"/>
              <a:gd name="connsiteX29" fmla="*/ 924005 w 999551"/>
              <a:gd name="connsiteY29" fmla="*/ 1306196 h 1346201"/>
              <a:gd name="connsiteX30" fmla="*/ 806847 w 999551"/>
              <a:gd name="connsiteY30" fmla="*/ 1346201 h 1346201"/>
              <a:gd name="connsiteX31" fmla="*/ 688975 w 999551"/>
              <a:gd name="connsiteY31" fmla="*/ 1306196 h 1346201"/>
              <a:gd name="connsiteX32" fmla="*/ 667544 w 999551"/>
              <a:gd name="connsiteY32" fmla="*/ 1287622 h 1346201"/>
              <a:gd name="connsiteX33" fmla="*/ 656828 w 999551"/>
              <a:gd name="connsiteY33" fmla="*/ 1274764 h 1346201"/>
              <a:gd name="connsiteX34" fmla="*/ 625396 w 999551"/>
              <a:gd name="connsiteY34" fmla="*/ 1088311 h 1346201"/>
              <a:gd name="connsiteX35" fmla="*/ 639683 w 999551"/>
              <a:gd name="connsiteY35" fmla="*/ 1056879 h 1346201"/>
              <a:gd name="connsiteX36" fmla="*/ 673259 w 999551"/>
              <a:gd name="connsiteY36" fmla="*/ 1014731 h 1346201"/>
              <a:gd name="connsiteX37" fmla="*/ 740410 w 999551"/>
              <a:gd name="connsiteY37" fmla="*/ 972583 h 1346201"/>
              <a:gd name="connsiteX38" fmla="*/ 760413 w 999551"/>
              <a:gd name="connsiteY38" fmla="*/ 966153 h 1346201"/>
              <a:gd name="connsiteX39" fmla="*/ 806847 w 999551"/>
              <a:gd name="connsiteY39" fmla="*/ 960438 h 1346201"/>
              <a:gd name="connsiteX40" fmla="*/ 152218 w 999551"/>
              <a:gd name="connsiteY40" fmla="*/ 941388 h 1346201"/>
              <a:gd name="connsiteX41" fmla="*/ 735013 w 999551"/>
              <a:gd name="connsiteY41" fmla="*/ 941388 h 1346201"/>
              <a:gd name="connsiteX42" fmla="*/ 674380 w 999551"/>
              <a:gd name="connsiteY42" fmla="*/ 973138 h 1346201"/>
              <a:gd name="connsiteX43" fmla="*/ 152218 w 999551"/>
              <a:gd name="connsiteY43" fmla="*/ 973138 h 1346201"/>
              <a:gd name="connsiteX44" fmla="*/ 136525 w 999551"/>
              <a:gd name="connsiteY44" fmla="*/ 957263 h 1346201"/>
              <a:gd name="connsiteX45" fmla="*/ 152218 w 999551"/>
              <a:gd name="connsiteY45" fmla="*/ 941388 h 1346201"/>
              <a:gd name="connsiteX46" fmla="*/ 152237 w 999551"/>
              <a:gd name="connsiteY46" fmla="*/ 825500 h 1346201"/>
              <a:gd name="connsiteX47" fmla="*/ 747876 w 999551"/>
              <a:gd name="connsiteY47" fmla="*/ 825500 h 1346201"/>
              <a:gd name="connsiteX48" fmla="*/ 763588 w 999551"/>
              <a:gd name="connsiteY48" fmla="*/ 841375 h 1346201"/>
              <a:gd name="connsiteX49" fmla="*/ 747876 w 999551"/>
              <a:gd name="connsiteY49" fmla="*/ 857250 h 1346201"/>
              <a:gd name="connsiteX50" fmla="*/ 152237 w 999551"/>
              <a:gd name="connsiteY50" fmla="*/ 857250 h 1346201"/>
              <a:gd name="connsiteX51" fmla="*/ 136525 w 999551"/>
              <a:gd name="connsiteY51" fmla="*/ 841375 h 1346201"/>
              <a:gd name="connsiteX52" fmla="*/ 152237 w 999551"/>
              <a:gd name="connsiteY52" fmla="*/ 825500 h 1346201"/>
              <a:gd name="connsiteX53" fmla="*/ 152237 w 999551"/>
              <a:gd name="connsiteY53" fmla="*/ 709613 h 1346201"/>
              <a:gd name="connsiteX54" fmla="*/ 747876 w 999551"/>
              <a:gd name="connsiteY54" fmla="*/ 709613 h 1346201"/>
              <a:gd name="connsiteX55" fmla="*/ 763588 w 999551"/>
              <a:gd name="connsiteY55" fmla="*/ 725488 h 1346201"/>
              <a:gd name="connsiteX56" fmla="*/ 747876 w 999551"/>
              <a:gd name="connsiteY56" fmla="*/ 741363 h 1346201"/>
              <a:gd name="connsiteX57" fmla="*/ 152237 w 999551"/>
              <a:gd name="connsiteY57" fmla="*/ 741363 h 1346201"/>
              <a:gd name="connsiteX58" fmla="*/ 136525 w 999551"/>
              <a:gd name="connsiteY58" fmla="*/ 725488 h 1346201"/>
              <a:gd name="connsiteX59" fmla="*/ 152237 w 999551"/>
              <a:gd name="connsiteY59" fmla="*/ 709613 h 1346201"/>
              <a:gd name="connsiteX60" fmla="*/ 152237 w 999551"/>
              <a:gd name="connsiteY60" fmla="*/ 593725 h 1346201"/>
              <a:gd name="connsiteX61" fmla="*/ 747876 w 999551"/>
              <a:gd name="connsiteY61" fmla="*/ 593725 h 1346201"/>
              <a:gd name="connsiteX62" fmla="*/ 763588 w 999551"/>
              <a:gd name="connsiteY62" fmla="*/ 609600 h 1346201"/>
              <a:gd name="connsiteX63" fmla="*/ 747876 w 999551"/>
              <a:gd name="connsiteY63" fmla="*/ 625475 h 1346201"/>
              <a:gd name="connsiteX64" fmla="*/ 152237 w 999551"/>
              <a:gd name="connsiteY64" fmla="*/ 625475 h 1346201"/>
              <a:gd name="connsiteX65" fmla="*/ 136525 w 999551"/>
              <a:gd name="connsiteY65" fmla="*/ 609600 h 1346201"/>
              <a:gd name="connsiteX66" fmla="*/ 152237 w 999551"/>
              <a:gd name="connsiteY66" fmla="*/ 593725 h 1346201"/>
              <a:gd name="connsiteX67" fmla="*/ 152237 w 999551"/>
              <a:gd name="connsiteY67" fmla="*/ 477838 h 1346201"/>
              <a:gd name="connsiteX68" fmla="*/ 747876 w 999551"/>
              <a:gd name="connsiteY68" fmla="*/ 477838 h 1346201"/>
              <a:gd name="connsiteX69" fmla="*/ 763588 w 999551"/>
              <a:gd name="connsiteY69" fmla="*/ 493713 h 1346201"/>
              <a:gd name="connsiteX70" fmla="*/ 747876 w 999551"/>
              <a:gd name="connsiteY70" fmla="*/ 509588 h 1346201"/>
              <a:gd name="connsiteX71" fmla="*/ 152237 w 999551"/>
              <a:gd name="connsiteY71" fmla="*/ 509588 h 1346201"/>
              <a:gd name="connsiteX72" fmla="*/ 136525 w 999551"/>
              <a:gd name="connsiteY72" fmla="*/ 493713 h 1346201"/>
              <a:gd name="connsiteX73" fmla="*/ 152237 w 999551"/>
              <a:gd name="connsiteY73" fmla="*/ 477838 h 1346201"/>
              <a:gd name="connsiteX74" fmla="*/ 152237 w 999551"/>
              <a:gd name="connsiteY74" fmla="*/ 361950 h 1346201"/>
              <a:gd name="connsiteX75" fmla="*/ 747876 w 999551"/>
              <a:gd name="connsiteY75" fmla="*/ 361950 h 1346201"/>
              <a:gd name="connsiteX76" fmla="*/ 763588 w 999551"/>
              <a:gd name="connsiteY76" fmla="*/ 377825 h 1346201"/>
              <a:gd name="connsiteX77" fmla="*/ 747876 w 999551"/>
              <a:gd name="connsiteY77" fmla="*/ 393700 h 1346201"/>
              <a:gd name="connsiteX78" fmla="*/ 152237 w 999551"/>
              <a:gd name="connsiteY78" fmla="*/ 393700 h 1346201"/>
              <a:gd name="connsiteX79" fmla="*/ 136525 w 999551"/>
              <a:gd name="connsiteY79" fmla="*/ 377825 h 1346201"/>
              <a:gd name="connsiteX80" fmla="*/ 152237 w 999551"/>
              <a:gd name="connsiteY80" fmla="*/ 361950 h 1346201"/>
              <a:gd name="connsiteX81" fmla="*/ 625475 w 999551"/>
              <a:gd name="connsiteY81" fmla="*/ 114300 h 1346201"/>
              <a:gd name="connsiteX82" fmla="*/ 882800 w 999551"/>
              <a:gd name="connsiteY82" fmla="*/ 114300 h 1346201"/>
              <a:gd name="connsiteX83" fmla="*/ 898525 w 999551"/>
              <a:gd name="connsiteY83" fmla="*/ 130001 h 1346201"/>
              <a:gd name="connsiteX84" fmla="*/ 898525 w 999551"/>
              <a:gd name="connsiteY84" fmla="*/ 949325 h 1346201"/>
              <a:gd name="connsiteX85" fmla="*/ 867074 w 999551"/>
              <a:gd name="connsiteY85" fmla="*/ 937906 h 1346201"/>
              <a:gd name="connsiteX86" fmla="*/ 867074 w 999551"/>
              <a:gd name="connsiteY86" fmla="*/ 145703 h 1346201"/>
              <a:gd name="connsiteX87" fmla="*/ 625475 w 999551"/>
              <a:gd name="connsiteY87" fmla="*/ 145703 h 1346201"/>
              <a:gd name="connsiteX88" fmla="*/ 625475 w 999551"/>
              <a:gd name="connsiteY88" fmla="*/ 114300 h 1346201"/>
              <a:gd name="connsiteX89" fmla="*/ 15734 w 999551"/>
              <a:gd name="connsiteY89" fmla="*/ 114300 h 1346201"/>
              <a:gd name="connsiteX90" fmla="*/ 273195 w 999551"/>
              <a:gd name="connsiteY90" fmla="*/ 114300 h 1346201"/>
              <a:gd name="connsiteX91" fmla="*/ 273195 w 999551"/>
              <a:gd name="connsiteY91" fmla="*/ 145712 h 1346201"/>
              <a:gd name="connsiteX92" fmla="*/ 31468 w 999551"/>
              <a:gd name="connsiteY92" fmla="*/ 145712 h 1346201"/>
              <a:gd name="connsiteX93" fmla="*/ 31468 w 999551"/>
              <a:gd name="connsiteY93" fmla="*/ 1275102 h 1346201"/>
              <a:gd name="connsiteX94" fmla="*/ 618622 w 999551"/>
              <a:gd name="connsiteY94" fmla="*/ 1275102 h 1346201"/>
              <a:gd name="connsiteX95" fmla="*/ 642938 w 999551"/>
              <a:gd name="connsiteY95" fmla="*/ 1306513 h 1346201"/>
              <a:gd name="connsiteX96" fmla="*/ 15734 w 999551"/>
              <a:gd name="connsiteY96" fmla="*/ 1306513 h 1346201"/>
              <a:gd name="connsiteX97" fmla="*/ 0 w 999551"/>
              <a:gd name="connsiteY97" fmla="*/ 1290807 h 1346201"/>
              <a:gd name="connsiteX98" fmla="*/ 0 w 999551"/>
              <a:gd name="connsiteY98" fmla="*/ 130006 h 1346201"/>
              <a:gd name="connsiteX99" fmla="*/ 15734 w 999551"/>
              <a:gd name="connsiteY99" fmla="*/ 114300 h 1346201"/>
              <a:gd name="connsiteX100" fmla="*/ 449263 w 999551"/>
              <a:gd name="connsiteY100" fmla="*/ 31750 h 1346201"/>
              <a:gd name="connsiteX101" fmla="*/ 427180 w 999551"/>
              <a:gd name="connsiteY101" fmla="*/ 35314 h 1346201"/>
              <a:gd name="connsiteX102" fmla="*/ 393700 w 999551"/>
              <a:gd name="connsiteY102" fmla="*/ 66675 h 1346201"/>
              <a:gd name="connsiteX103" fmla="*/ 504825 w 999551"/>
              <a:gd name="connsiteY103" fmla="*/ 66675 h 1346201"/>
              <a:gd name="connsiteX104" fmla="*/ 471345 w 999551"/>
              <a:gd name="connsiteY104" fmla="*/ 35314 h 1346201"/>
              <a:gd name="connsiteX105" fmla="*/ 449263 w 999551"/>
              <a:gd name="connsiteY105" fmla="*/ 31750 h 1346201"/>
              <a:gd name="connsiteX106" fmla="*/ 449262 w 999551"/>
              <a:gd name="connsiteY106" fmla="*/ 0 h 1346201"/>
              <a:gd name="connsiteX107" fmla="*/ 522287 w 999551"/>
              <a:gd name="connsiteY107" fmla="*/ 34890 h 1346201"/>
              <a:gd name="connsiteX108" fmla="*/ 538754 w 999551"/>
              <a:gd name="connsiteY108" fmla="*/ 66220 h 1346201"/>
              <a:gd name="connsiteX109" fmla="*/ 588153 w 999551"/>
              <a:gd name="connsiteY109" fmla="*/ 66220 h 1346201"/>
              <a:gd name="connsiteX110" fmla="*/ 595312 w 999551"/>
              <a:gd name="connsiteY110" fmla="*/ 73340 h 1346201"/>
              <a:gd name="connsiteX111" fmla="*/ 595312 w 999551"/>
              <a:gd name="connsiteY111" fmla="*/ 113927 h 1346201"/>
              <a:gd name="connsiteX112" fmla="*/ 595312 w 999551"/>
              <a:gd name="connsiteY112" fmla="*/ 145256 h 1346201"/>
              <a:gd name="connsiteX113" fmla="*/ 595312 w 999551"/>
              <a:gd name="connsiteY113" fmla="*/ 178010 h 1346201"/>
              <a:gd name="connsiteX114" fmla="*/ 579562 w 999551"/>
              <a:gd name="connsiteY114" fmla="*/ 193675 h 1346201"/>
              <a:gd name="connsiteX115" fmla="*/ 318963 w 999551"/>
              <a:gd name="connsiteY115" fmla="*/ 193675 h 1346201"/>
              <a:gd name="connsiteX116" fmla="*/ 303212 w 999551"/>
              <a:gd name="connsiteY116" fmla="*/ 178010 h 1346201"/>
              <a:gd name="connsiteX117" fmla="*/ 303212 w 999551"/>
              <a:gd name="connsiteY117" fmla="*/ 145256 h 1346201"/>
              <a:gd name="connsiteX118" fmla="*/ 303212 w 999551"/>
              <a:gd name="connsiteY118" fmla="*/ 113927 h 1346201"/>
              <a:gd name="connsiteX119" fmla="*/ 303212 w 999551"/>
              <a:gd name="connsiteY119" fmla="*/ 73340 h 1346201"/>
              <a:gd name="connsiteX120" fmla="*/ 310372 w 999551"/>
              <a:gd name="connsiteY120" fmla="*/ 66220 h 1346201"/>
              <a:gd name="connsiteX121" fmla="*/ 359771 w 999551"/>
              <a:gd name="connsiteY121" fmla="*/ 66220 h 1346201"/>
              <a:gd name="connsiteX122" fmla="*/ 376237 w 999551"/>
              <a:gd name="connsiteY122" fmla="*/ 34890 h 1346201"/>
              <a:gd name="connsiteX123" fmla="*/ 449262 w 999551"/>
              <a:gd name="connsiteY123" fmla="*/ 0 h 134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999551" h="1346201">
                <a:moveTo>
                  <a:pt x="926427" y="1074664"/>
                </a:moveTo>
                <a:cubicBezTo>
                  <a:pt x="922401" y="1074575"/>
                  <a:pt x="918286" y="1075999"/>
                  <a:pt x="915066" y="1078848"/>
                </a:cubicBezTo>
                <a:cubicBezTo>
                  <a:pt x="915066" y="1078848"/>
                  <a:pt x="915066" y="1078848"/>
                  <a:pt x="898607" y="1094518"/>
                </a:cubicBezTo>
                <a:cubicBezTo>
                  <a:pt x="898607" y="1094518"/>
                  <a:pt x="898607" y="1094518"/>
                  <a:pt x="867121" y="1124433"/>
                </a:cubicBezTo>
                <a:cubicBezTo>
                  <a:pt x="867121" y="1124433"/>
                  <a:pt x="867121" y="1124433"/>
                  <a:pt x="764073" y="1223437"/>
                </a:cubicBezTo>
                <a:cubicBezTo>
                  <a:pt x="764073" y="1223437"/>
                  <a:pt x="764073" y="1223437"/>
                  <a:pt x="695375" y="1155060"/>
                </a:cubicBezTo>
                <a:cubicBezTo>
                  <a:pt x="688934" y="1148650"/>
                  <a:pt x="678916" y="1148650"/>
                  <a:pt x="673191" y="1155060"/>
                </a:cubicBezTo>
                <a:cubicBezTo>
                  <a:pt x="666750" y="1160758"/>
                  <a:pt x="666750" y="1170730"/>
                  <a:pt x="673191" y="1177140"/>
                </a:cubicBezTo>
                <a:cubicBezTo>
                  <a:pt x="673191" y="1177140"/>
                  <a:pt x="673191" y="1177140"/>
                  <a:pt x="752623" y="1256202"/>
                </a:cubicBezTo>
                <a:cubicBezTo>
                  <a:pt x="755486" y="1259051"/>
                  <a:pt x="759779" y="1260475"/>
                  <a:pt x="763357" y="1260475"/>
                </a:cubicBezTo>
                <a:cubicBezTo>
                  <a:pt x="767651" y="1260475"/>
                  <a:pt x="771229" y="1259051"/>
                  <a:pt x="774092" y="1256202"/>
                </a:cubicBezTo>
                <a:cubicBezTo>
                  <a:pt x="774092" y="1256202"/>
                  <a:pt x="774092" y="1256202"/>
                  <a:pt x="867121" y="1167881"/>
                </a:cubicBezTo>
                <a:cubicBezTo>
                  <a:pt x="867121" y="1167881"/>
                  <a:pt x="867121" y="1167881"/>
                  <a:pt x="898607" y="1137966"/>
                </a:cubicBezTo>
                <a:cubicBezTo>
                  <a:pt x="898607" y="1137966"/>
                  <a:pt x="898607" y="1137966"/>
                  <a:pt x="936535" y="1101641"/>
                </a:cubicBezTo>
                <a:cubicBezTo>
                  <a:pt x="942975" y="1095943"/>
                  <a:pt x="942975" y="1085971"/>
                  <a:pt x="937250" y="1079560"/>
                </a:cubicBezTo>
                <a:cubicBezTo>
                  <a:pt x="934388" y="1076355"/>
                  <a:pt x="930452" y="1074753"/>
                  <a:pt x="926427" y="1074664"/>
                </a:cubicBezTo>
                <a:close/>
                <a:moveTo>
                  <a:pt x="152230" y="1057275"/>
                </a:moveTo>
                <a:cubicBezTo>
                  <a:pt x="152230" y="1057275"/>
                  <a:pt x="152230" y="1057275"/>
                  <a:pt x="604838" y="1057275"/>
                </a:cubicBezTo>
                <a:cubicBezTo>
                  <a:pt x="599841" y="1067377"/>
                  <a:pt x="595557" y="1078201"/>
                  <a:pt x="592702" y="1089025"/>
                </a:cubicBezTo>
                <a:cubicBezTo>
                  <a:pt x="592702" y="1089025"/>
                  <a:pt x="592702" y="1089025"/>
                  <a:pt x="152230" y="1089025"/>
                </a:cubicBezTo>
                <a:cubicBezTo>
                  <a:pt x="142950" y="1089025"/>
                  <a:pt x="136525" y="1081809"/>
                  <a:pt x="136525" y="1073150"/>
                </a:cubicBezTo>
                <a:cubicBezTo>
                  <a:pt x="136525" y="1064491"/>
                  <a:pt x="142950" y="1057275"/>
                  <a:pt x="152230" y="1057275"/>
                </a:cubicBezTo>
                <a:close/>
                <a:moveTo>
                  <a:pt x="806847" y="960438"/>
                </a:moveTo>
                <a:cubicBezTo>
                  <a:pt x="827564" y="960438"/>
                  <a:pt x="848281" y="964010"/>
                  <a:pt x="867569" y="970439"/>
                </a:cubicBezTo>
                <a:cubicBezTo>
                  <a:pt x="878999" y="974011"/>
                  <a:pt x="889001" y="979012"/>
                  <a:pt x="899002" y="984013"/>
                </a:cubicBezTo>
                <a:cubicBezTo>
                  <a:pt x="916147" y="993299"/>
                  <a:pt x="931863" y="1005444"/>
                  <a:pt x="945436" y="1019731"/>
                </a:cubicBezTo>
                <a:cubicBezTo>
                  <a:pt x="1013302" y="1089740"/>
                  <a:pt x="1017588" y="1199754"/>
                  <a:pt x="956866" y="1274764"/>
                </a:cubicBezTo>
                <a:cubicBezTo>
                  <a:pt x="951866" y="1281193"/>
                  <a:pt x="946151" y="1286908"/>
                  <a:pt x="940436" y="1292623"/>
                </a:cubicBezTo>
                <a:cubicBezTo>
                  <a:pt x="934006" y="1298338"/>
                  <a:pt x="929720" y="1302624"/>
                  <a:pt x="924719" y="1306196"/>
                </a:cubicBezTo>
                <a:cubicBezTo>
                  <a:pt x="924719" y="1306196"/>
                  <a:pt x="924719" y="1306196"/>
                  <a:pt x="924005" y="1306196"/>
                </a:cubicBezTo>
                <a:cubicBezTo>
                  <a:pt x="891144" y="1331914"/>
                  <a:pt x="848996" y="1346201"/>
                  <a:pt x="806847" y="1346201"/>
                </a:cubicBezTo>
                <a:cubicBezTo>
                  <a:pt x="763270" y="1346201"/>
                  <a:pt x="722551" y="1332628"/>
                  <a:pt x="688975" y="1306196"/>
                </a:cubicBezTo>
                <a:cubicBezTo>
                  <a:pt x="681832" y="1300481"/>
                  <a:pt x="674688" y="1294052"/>
                  <a:pt x="667544" y="1287622"/>
                </a:cubicBezTo>
                <a:cubicBezTo>
                  <a:pt x="663972" y="1283336"/>
                  <a:pt x="660400" y="1279050"/>
                  <a:pt x="656828" y="1274764"/>
                </a:cubicBezTo>
                <a:cubicBezTo>
                  <a:pt x="613252" y="1221900"/>
                  <a:pt x="603250" y="1150462"/>
                  <a:pt x="625396" y="1088311"/>
                </a:cubicBezTo>
                <a:cubicBezTo>
                  <a:pt x="628968" y="1077596"/>
                  <a:pt x="633968" y="1066880"/>
                  <a:pt x="639683" y="1056879"/>
                </a:cubicBezTo>
                <a:cubicBezTo>
                  <a:pt x="648970" y="1041877"/>
                  <a:pt x="659686" y="1027589"/>
                  <a:pt x="673259" y="1014731"/>
                </a:cubicBezTo>
                <a:cubicBezTo>
                  <a:pt x="692547" y="995443"/>
                  <a:pt x="715407" y="981155"/>
                  <a:pt x="740410" y="972583"/>
                </a:cubicBezTo>
                <a:cubicBezTo>
                  <a:pt x="746840" y="969725"/>
                  <a:pt x="753269" y="968296"/>
                  <a:pt x="760413" y="966153"/>
                </a:cubicBezTo>
                <a:cubicBezTo>
                  <a:pt x="775415" y="962581"/>
                  <a:pt x="791131" y="960438"/>
                  <a:pt x="806847" y="960438"/>
                </a:cubicBezTo>
                <a:close/>
                <a:moveTo>
                  <a:pt x="152218" y="941388"/>
                </a:moveTo>
                <a:cubicBezTo>
                  <a:pt x="152218" y="941388"/>
                  <a:pt x="152218" y="941388"/>
                  <a:pt x="735013" y="941388"/>
                </a:cubicBezTo>
                <a:cubicBezTo>
                  <a:pt x="712900" y="948604"/>
                  <a:pt x="692926" y="959428"/>
                  <a:pt x="674380" y="973138"/>
                </a:cubicBezTo>
                <a:cubicBezTo>
                  <a:pt x="674380" y="973138"/>
                  <a:pt x="674380" y="973138"/>
                  <a:pt x="152218" y="973138"/>
                </a:cubicBezTo>
                <a:cubicBezTo>
                  <a:pt x="142945" y="973138"/>
                  <a:pt x="136525" y="965922"/>
                  <a:pt x="136525" y="957263"/>
                </a:cubicBezTo>
                <a:cubicBezTo>
                  <a:pt x="136525" y="948604"/>
                  <a:pt x="142945" y="941388"/>
                  <a:pt x="152218" y="941388"/>
                </a:cubicBezTo>
                <a:close/>
                <a:moveTo>
                  <a:pt x="152237" y="825500"/>
                </a:moveTo>
                <a:cubicBezTo>
                  <a:pt x="152237" y="825500"/>
                  <a:pt x="152237" y="825500"/>
                  <a:pt x="747876" y="825500"/>
                </a:cubicBezTo>
                <a:cubicBezTo>
                  <a:pt x="757160" y="825500"/>
                  <a:pt x="763588" y="832716"/>
                  <a:pt x="763588" y="841375"/>
                </a:cubicBezTo>
                <a:cubicBezTo>
                  <a:pt x="763588" y="850756"/>
                  <a:pt x="757160" y="857250"/>
                  <a:pt x="747876" y="857250"/>
                </a:cubicBezTo>
                <a:cubicBezTo>
                  <a:pt x="747876" y="857250"/>
                  <a:pt x="747876" y="857250"/>
                  <a:pt x="152237" y="857250"/>
                </a:cubicBezTo>
                <a:cubicBezTo>
                  <a:pt x="142953" y="857250"/>
                  <a:pt x="136525" y="850756"/>
                  <a:pt x="136525" y="841375"/>
                </a:cubicBezTo>
                <a:cubicBezTo>
                  <a:pt x="136525" y="832716"/>
                  <a:pt x="142953" y="825500"/>
                  <a:pt x="152237" y="825500"/>
                </a:cubicBezTo>
                <a:close/>
                <a:moveTo>
                  <a:pt x="152237" y="709613"/>
                </a:moveTo>
                <a:cubicBezTo>
                  <a:pt x="152237" y="709613"/>
                  <a:pt x="152237" y="709613"/>
                  <a:pt x="747876" y="709613"/>
                </a:cubicBezTo>
                <a:cubicBezTo>
                  <a:pt x="757160" y="709613"/>
                  <a:pt x="763588" y="716829"/>
                  <a:pt x="763588" y="725488"/>
                </a:cubicBezTo>
                <a:cubicBezTo>
                  <a:pt x="763588" y="734147"/>
                  <a:pt x="757160" y="741363"/>
                  <a:pt x="747876" y="741363"/>
                </a:cubicBezTo>
                <a:cubicBezTo>
                  <a:pt x="747876" y="741363"/>
                  <a:pt x="747876" y="741363"/>
                  <a:pt x="152237" y="741363"/>
                </a:cubicBezTo>
                <a:cubicBezTo>
                  <a:pt x="142953" y="741363"/>
                  <a:pt x="136525" y="734147"/>
                  <a:pt x="136525" y="725488"/>
                </a:cubicBezTo>
                <a:cubicBezTo>
                  <a:pt x="136525" y="716829"/>
                  <a:pt x="142953" y="709613"/>
                  <a:pt x="152237" y="709613"/>
                </a:cubicBezTo>
                <a:close/>
                <a:moveTo>
                  <a:pt x="152237" y="593725"/>
                </a:moveTo>
                <a:cubicBezTo>
                  <a:pt x="152237" y="593725"/>
                  <a:pt x="152237" y="593725"/>
                  <a:pt x="747876" y="593725"/>
                </a:cubicBezTo>
                <a:cubicBezTo>
                  <a:pt x="757160" y="593725"/>
                  <a:pt x="763588" y="600941"/>
                  <a:pt x="763588" y="609600"/>
                </a:cubicBezTo>
                <a:cubicBezTo>
                  <a:pt x="763588" y="618259"/>
                  <a:pt x="757160" y="625475"/>
                  <a:pt x="747876" y="625475"/>
                </a:cubicBezTo>
                <a:cubicBezTo>
                  <a:pt x="747876" y="625475"/>
                  <a:pt x="747876" y="625475"/>
                  <a:pt x="152237" y="625475"/>
                </a:cubicBezTo>
                <a:cubicBezTo>
                  <a:pt x="142953" y="625475"/>
                  <a:pt x="136525" y="618259"/>
                  <a:pt x="136525" y="609600"/>
                </a:cubicBezTo>
                <a:cubicBezTo>
                  <a:pt x="136525" y="600941"/>
                  <a:pt x="142953" y="593725"/>
                  <a:pt x="152237" y="593725"/>
                </a:cubicBezTo>
                <a:close/>
                <a:moveTo>
                  <a:pt x="152237" y="477838"/>
                </a:moveTo>
                <a:cubicBezTo>
                  <a:pt x="152237" y="477838"/>
                  <a:pt x="152237" y="477838"/>
                  <a:pt x="747876" y="477838"/>
                </a:cubicBezTo>
                <a:cubicBezTo>
                  <a:pt x="757160" y="477838"/>
                  <a:pt x="763588" y="484332"/>
                  <a:pt x="763588" y="493713"/>
                </a:cubicBezTo>
                <a:cubicBezTo>
                  <a:pt x="763588" y="502372"/>
                  <a:pt x="757160" y="509588"/>
                  <a:pt x="747876" y="509588"/>
                </a:cubicBezTo>
                <a:cubicBezTo>
                  <a:pt x="747876" y="509588"/>
                  <a:pt x="747876" y="509588"/>
                  <a:pt x="152237" y="509588"/>
                </a:cubicBezTo>
                <a:cubicBezTo>
                  <a:pt x="142953" y="509588"/>
                  <a:pt x="136525" y="502372"/>
                  <a:pt x="136525" y="493713"/>
                </a:cubicBezTo>
                <a:cubicBezTo>
                  <a:pt x="136525" y="484332"/>
                  <a:pt x="142953" y="477838"/>
                  <a:pt x="152237" y="477838"/>
                </a:cubicBezTo>
                <a:close/>
                <a:moveTo>
                  <a:pt x="152237" y="361950"/>
                </a:moveTo>
                <a:cubicBezTo>
                  <a:pt x="152237" y="361950"/>
                  <a:pt x="152237" y="361950"/>
                  <a:pt x="747876" y="361950"/>
                </a:cubicBezTo>
                <a:cubicBezTo>
                  <a:pt x="757160" y="361950"/>
                  <a:pt x="763588" y="369166"/>
                  <a:pt x="763588" y="377825"/>
                </a:cubicBezTo>
                <a:cubicBezTo>
                  <a:pt x="763588" y="386484"/>
                  <a:pt x="757160" y="393700"/>
                  <a:pt x="747876" y="393700"/>
                </a:cubicBezTo>
                <a:cubicBezTo>
                  <a:pt x="747876" y="393700"/>
                  <a:pt x="747876" y="393700"/>
                  <a:pt x="152237" y="393700"/>
                </a:cubicBezTo>
                <a:cubicBezTo>
                  <a:pt x="142953" y="393700"/>
                  <a:pt x="136525" y="386484"/>
                  <a:pt x="136525" y="377825"/>
                </a:cubicBezTo>
                <a:cubicBezTo>
                  <a:pt x="136525" y="369166"/>
                  <a:pt x="142953" y="361950"/>
                  <a:pt x="152237" y="361950"/>
                </a:cubicBezTo>
                <a:close/>
                <a:moveTo>
                  <a:pt x="625475" y="114300"/>
                </a:moveTo>
                <a:cubicBezTo>
                  <a:pt x="625475" y="114300"/>
                  <a:pt x="625475" y="114300"/>
                  <a:pt x="882800" y="114300"/>
                </a:cubicBezTo>
                <a:cubicBezTo>
                  <a:pt x="892092" y="114300"/>
                  <a:pt x="898525" y="121437"/>
                  <a:pt x="898525" y="130001"/>
                </a:cubicBezTo>
                <a:cubicBezTo>
                  <a:pt x="898525" y="130001"/>
                  <a:pt x="898525" y="130001"/>
                  <a:pt x="898525" y="949325"/>
                </a:cubicBezTo>
                <a:cubicBezTo>
                  <a:pt x="888518" y="945043"/>
                  <a:pt x="878511" y="940761"/>
                  <a:pt x="867074" y="937906"/>
                </a:cubicBezTo>
                <a:cubicBezTo>
                  <a:pt x="867074" y="937906"/>
                  <a:pt x="867074" y="937906"/>
                  <a:pt x="867074" y="145703"/>
                </a:cubicBezTo>
                <a:cubicBezTo>
                  <a:pt x="867074" y="145703"/>
                  <a:pt x="867074" y="145703"/>
                  <a:pt x="625475" y="145703"/>
                </a:cubicBezTo>
                <a:cubicBezTo>
                  <a:pt x="625475" y="145703"/>
                  <a:pt x="625475" y="145703"/>
                  <a:pt x="625475" y="114300"/>
                </a:cubicBezTo>
                <a:close/>
                <a:moveTo>
                  <a:pt x="15734" y="114300"/>
                </a:moveTo>
                <a:cubicBezTo>
                  <a:pt x="15734" y="114300"/>
                  <a:pt x="15734" y="114300"/>
                  <a:pt x="273195" y="114300"/>
                </a:cubicBezTo>
                <a:cubicBezTo>
                  <a:pt x="273195" y="114300"/>
                  <a:pt x="273195" y="114300"/>
                  <a:pt x="273195" y="145712"/>
                </a:cubicBezTo>
                <a:cubicBezTo>
                  <a:pt x="273195" y="145712"/>
                  <a:pt x="273195" y="145712"/>
                  <a:pt x="31468" y="145712"/>
                </a:cubicBezTo>
                <a:cubicBezTo>
                  <a:pt x="31468" y="145712"/>
                  <a:pt x="31468" y="145712"/>
                  <a:pt x="31468" y="1275102"/>
                </a:cubicBezTo>
                <a:cubicBezTo>
                  <a:pt x="31468" y="1275102"/>
                  <a:pt x="31468" y="1275102"/>
                  <a:pt x="618622" y="1275102"/>
                </a:cubicBezTo>
                <a:cubicBezTo>
                  <a:pt x="625774" y="1286524"/>
                  <a:pt x="633641" y="1297232"/>
                  <a:pt x="642938" y="1306513"/>
                </a:cubicBezTo>
                <a:cubicBezTo>
                  <a:pt x="642938" y="1306513"/>
                  <a:pt x="642938" y="1306513"/>
                  <a:pt x="15734" y="1306513"/>
                </a:cubicBezTo>
                <a:cubicBezTo>
                  <a:pt x="6437" y="1306513"/>
                  <a:pt x="0" y="1300088"/>
                  <a:pt x="0" y="1290807"/>
                </a:cubicBezTo>
                <a:cubicBezTo>
                  <a:pt x="0" y="1290807"/>
                  <a:pt x="0" y="1290807"/>
                  <a:pt x="0" y="130006"/>
                </a:cubicBezTo>
                <a:cubicBezTo>
                  <a:pt x="0" y="121439"/>
                  <a:pt x="6437" y="114300"/>
                  <a:pt x="15734" y="114300"/>
                </a:cubicBezTo>
                <a:close/>
                <a:moveTo>
                  <a:pt x="449263" y="31750"/>
                </a:moveTo>
                <a:cubicBezTo>
                  <a:pt x="441427" y="31750"/>
                  <a:pt x="434304" y="33176"/>
                  <a:pt x="427180" y="35314"/>
                </a:cubicBezTo>
                <a:cubicBezTo>
                  <a:pt x="412933" y="41016"/>
                  <a:pt x="400824" y="52420"/>
                  <a:pt x="393700" y="66675"/>
                </a:cubicBezTo>
                <a:cubicBezTo>
                  <a:pt x="393700" y="66675"/>
                  <a:pt x="393700" y="66675"/>
                  <a:pt x="504825" y="66675"/>
                </a:cubicBezTo>
                <a:cubicBezTo>
                  <a:pt x="497702" y="52420"/>
                  <a:pt x="485592" y="41016"/>
                  <a:pt x="471345" y="35314"/>
                </a:cubicBezTo>
                <a:cubicBezTo>
                  <a:pt x="464222" y="33176"/>
                  <a:pt x="457098" y="31750"/>
                  <a:pt x="449263" y="31750"/>
                </a:cubicBezTo>
                <a:close/>
                <a:moveTo>
                  <a:pt x="449262" y="0"/>
                </a:moveTo>
                <a:cubicBezTo>
                  <a:pt x="478615" y="0"/>
                  <a:pt x="505105" y="13529"/>
                  <a:pt x="522287" y="34890"/>
                </a:cubicBezTo>
                <a:cubicBezTo>
                  <a:pt x="529447" y="44147"/>
                  <a:pt x="535174" y="54827"/>
                  <a:pt x="538754" y="66220"/>
                </a:cubicBezTo>
                <a:cubicBezTo>
                  <a:pt x="538754" y="66220"/>
                  <a:pt x="538754" y="66220"/>
                  <a:pt x="588153" y="66220"/>
                </a:cubicBezTo>
                <a:cubicBezTo>
                  <a:pt x="591733" y="66220"/>
                  <a:pt x="595312" y="69068"/>
                  <a:pt x="595312" y="73340"/>
                </a:cubicBezTo>
                <a:cubicBezTo>
                  <a:pt x="595312" y="73340"/>
                  <a:pt x="595312" y="73340"/>
                  <a:pt x="595312" y="113927"/>
                </a:cubicBezTo>
                <a:cubicBezTo>
                  <a:pt x="595312" y="113927"/>
                  <a:pt x="595312" y="113927"/>
                  <a:pt x="595312" y="145256"/>
                </a:cubicBezTo>
                <a:cubicBezTo>
                  <a:pt x="595312" y="145256"/>
                  <a:pt x="595312" y="145256"/>
                  <a:pt x="595312" y="178010"/>
                </a:cubicBezTo>
                <a:cubicBezTo>
                  <a:pt x="595312" y="186555"/>
                  <a:pt x="588153" y="193675"/>
                  <a:pt x="579562" y="193675"/>
                </a:cubicBezTo>
                <a:cubicBezTo>
                  <a:pt x="579562" y="193675"/>
                  <a:pt x="579562" y="193675"/>
                  <a:pt x="318963" y="193675"/>
                </a:cubicBezTo>
                <a:cubicBezTo>
                  <a:pt x="310372" y="193675"/>
                  <a:pt x="303212" y="186555"/>
                  <a:pt x="303212" y="178010"/>
                </a:cubicBezTo>
                <a:cubicBezTo>
                  <a:pt x="303212" y="178010"/>
                  <a:pt x="303212" y="178010"/>
                  <a:pt x="303212" y="145256"/>
                </a:cubicBezTo>
                <a:cubicBezTo>
                  <a:pt x="303212" y="145256"/>
                  <a:pt x="303212" y="145256"/>
                  <a:pt x="303212" y="113927"/>
                </a:cubicBezTo>
                <a:cubicBezTo>
                  <a:pt x="303212" y="113927"/>
                  <a:pt x="303212" y="113927"/>
                  <a:pt x="303212" y="73340"/>
                </a:cubicBezTo>
                <a:cubicBezTo>
                  <a:pt x="303212" y="69068"/>
                  <a:pt x="306792" y="66220"/>
                  <a:pt x="310372" y="66220"/>
                </a:cubicBezTo>
                <a:cubicBezTo>
                  <a:pt x="310372" y="66220"/>
                  <a:pt x="310372" y="66220"/>
                  <a:pt x="359771" y="66220"/>
                </a:cubicBezTo>
                <a:cubicBezTo>
                  <a:pt x="363350" y="54827"/>
                  <a:pt x="369078" y="44147"/>
                  <a:pt x="376237" y="34890"/>
                </a:cubicBezTo>
                <a:cubicBezTo>
                  <a:pt x="393420" y="13529"/>
                  <a:pt x="419909" y="0"/>
                  <a:pt x="449262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4614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66" name="think-cell Slide" r:id="rId12" imgW="536" imgH="535" progId="TCLayout.ActiveDocument.1">
                  <p:embed/>
                </p:oleObj>
              </mc:Choice>
              <mc:Fallback>
                <p:oleObj name="think-cell Slide" r:id="rId12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775597"/>
          </a:xfrm>
        </p:spPr>
        <p:txBody>
          <a:bodyPr/>
          <a:lstStyle/>
          <a:p>
            <a:r>
              <a:rPr lang="en-US" sz="2800" dirty="0"/>
              <a:t>Specific activities for local vendor sourcing will ensure structured and comprehensive approach to local contracting</a:t>
            </a:r>
          </a:p>
        </p:txBody>
      </p:sp>
      <p:sp>
        <p:nvSpPr>
          <p:cNvPr id="32" name="ee4pFootnotes"/>
          <p:cNvSpPr>
            <a:spLocks noChangeArrowheads="1"/>
          </p:cNvSpPr>
          <p:nvPr/>
        </p:nvSpPr>
        <p:spPr bwMode="auto">
          <a:xfrm>
            <a:off x="630000" y="6282941"/>
            <a:ext cx="9030914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1. Plan should be aligned with company wide Local Vendor Development Policies and Model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ource: 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CM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Frontera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; team analysis</a:t>
            </a:r>
          </a:p>
        </p:txBody>
      </p:sp>
      <p:sp>
        <p:nvSpPr>
          <p:cNvPr id="67" name="ee4pHeader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03872" y="1576375"/>
            <a:ext cx="2819451" cy="478826"/>
          </a:xfrm>
          <a:prstGeom prst="homePlate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evelop negotiating positions/sourcing docs.</a:t>
            </a:r>
          </a:p>
        </p:txBody>
      </p:sp>
      <p:sp>
        <p:nvSpPr>
          <p:cNvPr id="68" name="ee4pHeader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23323" y="1576375"/>
            <a:ext cx="2185742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efine &amp; send </a:t>
            </a:r>
            <a:r>
              <a:rPr lang="en-US" sz="1400" dirty="0" err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Fx</a:t>
            </a:r>
            <a:endParaRPr lang="en-US" sz="14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1" name="ee4pHeader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409065" y="1576375"/>
            <a:ext cx="2185742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Evaluate responses /</a:t>
            </a:r>
            <a:b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bids &amp; shortlist</a:t>
            </a:r>
          </a:p>
        </p:txBody>
      </p:sp>
      <p:sp>
        <p:nvSpPr>
          <p:cNvPr id="84" name="ee4pHeader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94807" y="1576375"/>
            <a:ext cx="1179903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et up negotiations</a:t>
            </a:r>
          </a:p>
        </p:txBody>
      </p:sp>
      <p:sp>
        <p:nvSpPr>
          <p:cNvPr id="85" name="ee4pHeader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9774710" y="1576375"/>
            <a:ext cx="2199048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Negotiate and award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89300" y="1939982"/>
            <a:ext cx="919293" cy="1684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Responsible</a:t>
            </a:r>
          </a:p>
        </p:txBody>
      </p:sp>
      <p:sp>
        <p:nvSpPr>
          <p:cNvPr id="87" name="TextColumnContent"/>
          <p:cNvSpPr>
            <a:spLocks noChangeArrowheads="1"/>
          </p:cNvSpPr>
          <p:nvPr/>
        </p:nvSpPr>
        <p:spPr bwMode="gray">
          <a:xfrm>
            <a:off x="389300" y="2875576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ategory leader/</a:t>
            </a:r>
            <a:b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pecialist</a:t>
            </a:r>
          </a:p>
        </p:txBody>
      </p:sp>
      <p:sp>
        <p:nvSpPr>
          <p:cNvPr id="88" name="TextColumnContent"/>
          <p:cNvSpPr>
            <a:spLocks noChangeArrowheads="1"/>
          </p:cNvSpPr>
          <p:nvPr/>
        </p:nvSpPr>
        <p:spPr bwMode="gray">
          <a:xfrm>
            <a:off x="389300" y="4496156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Technical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uthority</a:t>
            </a:r>
          </a:p>
        </p:txBody>
      </p:sp>
      <p:cxnSp>
        <p:nvCxnSpPr>
          <p:cNvPr id="89" name="Straight Connector 88"/>
          <p:cNvCxnSpPr/>
          <p:nvPr/>
        </p:nvCxnSpPr>
        <p:spPr>
          <a:xfrm>
            <a:off x="1431337" y="2918249"/>
            <a:ext cx="0" cy="59746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0" name="TextColumnContent"/>
          <p:cNvSpPr>
            <a:spLocks noChangeArrowheads="1"/>
          </p:cNvSpPr>
          <p:nvPr/>
        </p:nvSpPr>
        <p:spPr bwMode="gray">
          <a:xfrm>
            <a:off x="2124613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Develop supplier evaluation criteria and vendor list</a:t>
            </a:r>
          </a:p>
        </p:txBody>
      </p:sp>
      <p:sp>
        <p:nvSpPr>
          <p:cNvPr id="91" name="TextColumnContent"/>
          <p:cNvSpPr>
            <a:spLocks noChangeArrowheads="1"/>
          </p:cNvSpPr>
          <p:nvPr/>
        </p:nvSpPr>
        <p:spPr bwMode="gray">
          <a:xfrm>
            <a:off x="1554206" y="453882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efine technical specifications for purchase</a:t>
            </a:r>
          </a:p>
        </p:txBody>
      </p:sp>
      <p:sp>
        <p:nvSpPr>
          <p:cNvPr id="92" name="TextColumnContent"/>
          <p:cNvSpPr>
            <a:spLocks noChangeArrowheads="1"/>
          </p:cNvSpPr>
          <p:nvPr/>
        </p:nvSpPr>
        <p:spPr bwMode="gray">
          <a:xfrm>
            <a:off x="4310355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ublish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Fx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 or carry out live auction</a:t>
            </a:r>
          </a:p>
        </p:txBody>
      </p:sp>
      <p:sp>
        <p:nvSpPr>
          <p:cNvPr id="93" name="TextColumnContent"/>
          <p:cNvSpPr>
            <a:spLocks noChangeArrowheads="1"/>
          </p:cNvSpPr>
          <p:nvPr/>
        </p:nvSpPr>
        <p:spPr bwMode="gray">
          <a:xfrm>
            <a:off x="6496097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Evaluate bids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not technical)</a:t>
            </a:r>
          </a:p>
        </p:txBody>
      </p:sp>
      <p:sp>
        <p:nvSpPr>
          <p:cNvPr id="94" name="TextColumnContent"/>
          <p:cNvSpPr>
            <a:spLocks noChangeArrowheads="1"/>
          </p:cNvSpPr>
          <p:nvPr/>
        </p:nvSpPr>
        <p:spPr bwMode="gray">
          <a:xfrm>
            <a:off x="5403226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nswer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Fx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clarifications and receive bids</a:t>
            </a:r>
          </a:p>
        </p:txBody>
      </p:sp>
      <p:sp>
        <p:nvSpPr>
          <p:cNvPr id="95" name="TextColumnContent"/>
          <p:cNvSpPr>
            <a:spLocks noChangeArrowheads="1"/>
          </p:cNvSpPr>
          <p:nvPr/>
        </p:nvSpPr>
        <p:spPr bwMode="gray">
          <a:xfrm>
            <a:off x="7588968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efine vendor shortlist to initiate negotiations</a:t>
            </a:r>
          </a:p>
        </p:txBody>
      </p:sp>
      <p:cxnSp>
        <p:nvCxnSpPr>
          <p:cNvPr id="96" name="Straight Connector 95"/>
          <p:cNvCxnSpPr/>
          <p:nvPr/>
        </p:nvCxnSpPr>
        <p:spPr>
          <a:xfrm>
            <a:off x="1431337" y="4538829"/>
            <a:ext cx="0" cy="59746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7" name="TextColumnContent"/>
          <p:cNvSpPr>
            <a:spLocks noChangeArrowheads="1"/>
          </p:cNvSpPr>
          <p:nvPr/>
        </p:nvSpPr>
        <p:spPr bwMode="gray">
          <a:xfrm>
            <a:off x="630000" y="3996882"/>
            <a:ext cx="919293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endParaRPr lang="en-US" sz="1200" dirty="0">
              <a:solidFill>
                <a:srgbClr val="B61872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98" name="TextColumnContent"/>
          <p:cNvSpPr>
            <a:spLocks noChangeArrowheads="1"/>
          </p:cNvSpPr>
          <p:nvPr/>
        </p:nvSpPr>
        <p:spPr bwMode="gray">
          <a:xfrm>
            <a:off x="389300" y="3685866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User area approver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according to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oA</a:t>
            </a: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)</a:t>
            </a:r>
          </a:p>
        </p:txBody>
      </p:sp>
      <p:cxnSp>
        <p:nvCxnSpPr>
          <p:cNvPr id="99" name="Straight Connector 98"/>
          <p:cNvCxnSpPr/>
          <p:nvPr/>
        </p:nvCxnSpPr>
        <p:spPr>
          <a:xfrm>
            <a:off x="1431337" y="3728539"/>
            <a:ext cx="0" cy="59746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0" name="Elbow Connector 99"/>
          <p:cNvCxnSpPr>
            <a:stCxn id="90" idx="2"/>
            <a:endCxn id="124" idx="1"/>
          </p:cNvCxnSpPr>
          <p:nvPr/>
        </p:nvCxnSpPr>
        <p:spPr>
          <a:xfrm rot="16200000" flipH="1">
            <a:off x="1583221" y="4560024"/>
            <a:ext cx="2132141" cy="43516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ColumnContent"/>
          <p:cNvSpPr>
            <a:spLocks noChangeArrowheads="1"/>
          </p:cNvSpPr>
          <p:nvPr/>
        </p:nvSpPr>
        <p:spPr bwMode="gray">
          <a:xfrm>
            <a:off x="3217484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repare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Fx</a:t>
            </a:r>
            <a:endParaRPr lang="en-US" sz="10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102" name="TextColumnContent"/>
          <p:cNvSpPr>
            <a:spLocks noChangeArrowheads="1"/>
          </p:cNvSpPr>
          <p:nvPr/>
        </p:nvSpPr>
        <p:spPr bwMode="gray">
          <a:xfrm>
            <a:off x="8681839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repare negotiation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(meetings, roles, tools)</a:t>
            </a:r>
          </a:p>
        </p:txBody>
      </p:sp>
      <p:sp>
        <p:nvSpPr>
          <p:cNvPr id="103" name="TextColumnContent"/>
          <p:cNvSpPr>
            <a:spLocks noChangeArrowheads="1"/>
          </p:cNvSpPr>
          <p:nvPr/>
        </p:nvSpPr>
        <p:spPr bwMode="gray">
          <a:xfrm>
            <a:off x="10323885" y="372853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</a:rPr>
              <a:t>Award contract</a:t>
            </a:r>
          </a:p>
        </p:txBody>
      </p:sp>
      <p:sp>
        <p:nvSpPr>
          <p:cNvPr id="104" name="TextColumnContent"/>
          <p:cNvSpPr>
            <a:spLocks noChangeArrowheads="1"/>
          </p:cNvSpPr>
          <p:nvPr/>
        </p:nvSpPr>
        <p:spPr bwMode="gray">
          <a:xfrm>
            <a:off x="9774710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nduct negotiation</a:t>
            </a:r>
          </a:p>
        </p:txBody>
      </p:sp>
      <p:cxnSp>
        <p:nvCxnSpPr>
          <p:cNvPr id="105" name="Elbow Connector 104"/>
          <p:cNvCxnSpPr>
            <a:stCxn id="104" idx="2"/>
            <a:endCxn id="103" idx="1"/>
          </p:cNvCxnSpPr>
          <p:nvPr/>
        </p:nvCxnSpPr>
        <p:spPr>
          <a:xfrm rot="16200000" flipH="1">
            <a:off x="10044978" y="3748363"/>
            <a:ext cx="511559" cy="46255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103" idx="3"/>
            <a:endCxn id="107" idx="2"/>
          </p:cNvCxnSpPr>
          <p:nvPr/>
        </p:nvCxnSpPr>
        <p:spPr>
          <a:xfrm flipV="1">
            <a:off x="11329725" y="3515712"/>
            <a:ext cx="40779" cy="511559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ColumnContent"/>
          <p:cNvSpPr>
            <a:spLocks noChangeArrowheads="1"/>
          </p:cNvSpPr>
          <p:nvPr/>
        </p:nvSpPr>
        <p:spPr bwMode="gray">
          <a:xfrm>
            <a:off x="10867584" y="291824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</a:rPr>
              <a:t>Create contract document</a:t>
            </a:r>
          </a:p>
        </p:txBody>
      </p:sp>
      <p:sp>
        <p:nvSpPr>
          <p:cNvPr id="108" name="TextColumnContent"/>
          <p:cNvSpPr>
            <a:spLocks noChangeArrowheads="1"/>
          </p:cNvSpPr>
          <p:nvPr/>
        </p:nvSpPr>
        <p:spPr bwMode="gray">
          <a:xfrm>
            <a:off x="10967918" y="2107958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</a:rPr>
              <a:t>Sign contract document</a:t>
            </a:r>
          </a:p>
        </p:txBody>
      </p:sp>
      <p:sp>
        <p:nvSpPr>
          <p:cNvPr id="109" name="TextColumnContent"/>
          <p:cNvSpPr>
            <a:spLocks noChangeArrowheads="1"/>
          </p:cNvSpPr>
          <p:nvPr/>
        </p:nvSpPr>
        <p:spPr bwMode="gray">
          <a:xfrm>
            <a:off x="6496097" y="4538829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Evaluate bids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technical)</a:t>
            </a:r>
          </a:p>
        </p:txBody>
      </p:sp>
      <p:cxnSp>
        <p:nvCxnSpPr>
          <p:cNvPr id="110" name="Elbow Connector 109"/>
          <p:cNvCxnSpPr>
            <a:stCxn id="94" idx="2"/>
            <a:endCxn id="109" idx="1"/>
          </p:cNvCxnSpPr>
          <p:nvPr/>
        </p:nvCxnSpPr>
        <p:spPr>
          <a:xfrm rot="16200000" flipH="1">
            <a:off x="5540197" y="3881660"/>
            <a:ext cx="1321849" cy="589951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Elbow Connector 110"/>
          <p:cNvCxnSpPr>
            <a:stCxn id="109" idx="3"/>
            <a:endCxn id="95" idx="2"/>
          </p:cNvCxnSpPr>
          <p:nvPr/>
        </p:nvCxnSpPr>
        <p:spPr>
          <a:xfrm flipV="1">
            <a:off x="7501937" y="3515712"/>
            <a:ext cx="589951" cy="1321849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87"/>
          <p:cNvCxnSpPr>
            <a:stCxn id="90" idx="3"/>
            <a:endCxn id="101" idx="1"/>
          </p:cNvCxnSpPr>
          <p:nvPr/>
        </p:nvCxnSpPr>
        <p:spPr>
          <a:xfrm>
            <a:off x="3130453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87"/>
          <p:cNvCxnSpPr>
            <a:stCxn id="101" idx="3"/>
            <a:endCxn id="92" idx="1"/>
          </p:cNvCxnSpPr>
          <p:nvPr/>
        </p:nvCxnSpPr>
        <p:spPr>
          <a:xfrm>
            <a:off x="4223324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Elbow Connector 87"/>
          <p:cNvCxnSpPr>
            <a:stCxn id="92" idx="3"/>
            <a:endCxn id="94" idx="1"/>
          </p:cNvCxnSpPr>
          <p:nvPr/>
        </p:nvCxnSpPr>
        <p:spPr>
          <a:xfrm>
            <a:off x="5316195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87"/>
          <p:cNvCxnSpPr>
            <a:stCxn id="94" idx="3"/>
            <a:endCxn id="93" idx="1"/>
          </p:cNvCxnSpPr>
          <p:nvPr/>
        </p:nvCxnSpPr>
        <p:spPr>
          <a:xfrm>
            <a:off x="6409066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87"/>
          <p:cNvCxnSpPr>
            <a:stCxn id="93" idx="3"/>
            <a:endCxn id="95" idx="1"/>
          </p:cNvCxnSpPr>
          <p:nvPr/>
        </p:nvCxnSpPr>
        <p:spPr>
          <a:xfrm>
            <a:off x="7501937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87"/>
          <p:cNvCxnSpPr>
            <a:stCxn id="95" idx="3"/>
            <a:endCxn id="102" idx="1"/>
          </p:cNvCxnSpPr>
          <p:nvPr/>
        </p:nvCxnSpPr>
        <p:spPr>
          <a:xfrm>
            <a:off x="8594808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Elbow Connector 87"/>
          <p:cNvCxnSpPr>
            <a:stCxn id="102" idx="3"/>
            <a:endCxn id="104" idx="1"/>
          </p:cNvCxnSpPr>
          <p:nvPr/>
        </p:nvCxnSpPr>
        <p:spPr>
          <a:xfrm>
            <a:off x="9687679" y="3216981"/>
            <a:ext cx="87031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107" idx="0"/>
            <a:endCxn id="108" idx="2"/>
          </p:cNvCxnSpPr>
          <p:nvPr/>
        </p:nvCxnSpPr>
        <p:spPr>
          <a:xfrm rot="5400000" flipH="1" flipV="1">
            <a:off x="11314257" y="2761668"/>
            <a:ext cx="212828" cy="100334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ColumnContent"/>
          <p:cNvSpPr>
            <a:spLocks noChangeArrowheads="1"/>
          </p:cNvSpPr>
          <p:nvPr/>
        </p:nvSpPr>
        <p:spPr bwMode="gray">
          <a:xfrm>
            <a:off x="389300" y="2065286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Legal rep.</a:t>
            </a:r>
            <a:b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(according to</a:t>
            </a:r>
          </a:p>
          <a:p>
            <a:pPr fontAlgn="base">
              <a:buClr>
                <a:srgbClr val="177B57"/>
              </a:buClr>
              <a:buSzPct val="100000"/>
            </a:pPr>
            <a:r>
              <a:rPr lang="en-US" sz="1200" dirty="0" err="1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oA</a:t>
            </a: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)</a:t>
            </a:r>
          </a:p>
        </p:txBody>
      </p:sp>
      <p:cxnSp>
        <p:nvCxnSpPr>
          <p:cNvPr id="121" name="Straight Connector 120"/>
          <p:cNvCxnSpPr/>
          <p:nvPr/>
        </p:nvCxnSpPr>
        <p:spPr>
          <a:xfrm>
            <a:off x="1431337" y="2107958"/>
            <a:ext cx="0" cy="59746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2" name="TextColumnContent"/>
          <p:cNvSpPr>
            <a:spLocks noChangeArrowheads="1"/>
          </p:cNvSpPr>
          <p:nvPr/>
        </p:nvSpPr>
        <p:spPr bwMode="gray">
          <a:xfrm>
            <a:off x="389300" y="5306448"/>
            <a:ext cx="1159994" cy="68280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JOA</a:t>
            </a:r>
            <a:endParaRPr lang="en-US" sz="1200" dirty="0">
              <a:solidFill>
                <a:srgbClr val="B61872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cxnSp>
        <p:nvCxnSpPr>
          <p:cNvPr id="123" name="Straight Connector 122"/>
          <p:cNvCxnSpPr/>
          <p:nvPr/>
        </p:nvCxnSpPr>
        <p:spPr>
          <a:xfrm>
            <a:off x="1431337" y="5349121"/>
            <a:ext cx="0" cy="59746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4" name="TextColumnContent"/>
          <p:cNvSpPr>
            <a:spLocks noChangeArrowheads="1"/>
          </p:cNvSpPr>
          <p:nvPr/>
        </p:nvSpPr>
        <p:spPr bwMode="gray">
          <a:xfrm>
            <a:off x="2671049" y="5349121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pprove sourcing strategy</a:t>
            </a:r>
          </a:p>
        </p:txBody>
      </p:sp>
      <p:cxnSp>
        <p:nvCxnSpPr>
          <p:cNvPr id="125" name="Elbow Connector 124"/>
          <p:cNvCxnSpPr>
            <a:stCxn id="124" idx="3"/>
            <a:endCxn id="101" idx="2"/>
          </p:cNvCxnSpPr>
          <p:nvPr/>
        </p:nvCxnSpPr>
        <p:spPr>
          <a:xfrm flipV="1">
            <a:off x="3676889" y="3515712"/>
            <a:ext cx="43515" cy="2132141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>
            <a:stCxn id="103" idx="2"/>
            <a:endCxn id="127" idx="1"/>
          </p:cNvCxnSpPr>
          <p:nvPr/>
        </p:nvCxnSpPr>
        <p:spPr>
          <a:xfrm rot="5400000">
            <a:off x="9916995" y="4738042"/>
            <a:ext cx="1321851" cy="497770"/>
          </a:xfrm>
          <a:prstGeom prst="bentConnector4">
            <a:avLst>
              <a:gd name="adj1" fmla="val 38700"/>
              <a:gd name="adj2" fmla="val 145925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ColumnContent"/>
          <p:cNvSpPr>
            <a:spLocks noChangeArrowheads="1"/>
          </p:cNvSpPr>
          <p:nvPr/>
        </p:nvSpPr>
        <p:spPr bwMode="gray">
          <a:xfrm>
            <a:off x="10329035" y="5349121"/>
            <a:ext cx="1005840" cy="59746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pprove contract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ward</a:t>
            </a:r>
          </a:p>
        </p:txBody>
      </p:sp>
      <p:cxnSp>
        <p:nvCxnSpPr>
          <p:cNvPr id="128" name="Elbow Connector 127"/>
          <p:cNvCxnSpPr>
            <a:stCxn id="127" idx="3"/>
            <a:endCxn id="107" idx="2"/>
          </p:cNvCxnSpPr>
          <p:nvPr/>
        </p:nvCxnSpPr>
        <p:spPr>
          <a:xfrm flipV="1">
            <a:off x="11334875" y="3515712"/>
            <a:ext cx="35629" cy="2132141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32"/>
          <p:cNvCxnSpPr>
            <a:stCxn id="91" idx="0"/>
            <a:endCxn id="90" idx="1"/>
          </p:cNvCxnSpPr>
          <p:nvPr/>
        </p:nvCxnSpPr>
        <p:spPr>
          <a:xfrm rot="5400000" flipH="1" flipV="1">
            <a:off x="1429945" y="3844162"/>
            <a:ext cx="1321848" cy="67487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/>
          <p:cNvSpPr/>
          <p:nvPr/>
        </p:nvSpPr>
        <p:spPr>
          <a:xfrm>
            <a:off x="1549293" y="2096659"/>
            <a:ext cx="10552318" cy="3892597"/>
          </a:xfrm>
          <a:prstGeom prst="rect">
            <a:avLst/>
          </a:prstGeom>
          <a:solidFill>
            <a:schemeClr val="bg2">
              <a:alpha val="57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36" name="Straight Connector 135"/>
          <p:cNvCxnSpPr/>
          <p:nvPr/>
        </p:nvCxnSpPr>
        <p:spPr>
          <a:xfrm>
            <a:off x="2943041" y="3639216"/>
            <a:ext cx="0" cy="271153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37" name="Rectangle 136"/>
          <p:cNvSpPr/>
          <p:nvPr/>
        </p:nvSpPr>
        <p:spPr>
          <a:xfrm>
            <a:off x="2124614" y="3823914"/>
            <a:ext cx="1285386" cy="672242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Ensure vendor list alignment with local representatives / community</a:t>
            </a:r>
          </a:p>
        </p:txBody>
      </p:sp>
      <p:cxnSp>
        <p:nvCxnSpPr>
          <p:cNvPr id="138" name="Straight Connector 137"/>
          <p:cNvCxnSpPr/>
          <p:nvPr/>
        </p:nvCxnSpPr>
        <p:spPr>
          <a:xfrm>
            <a:off x="4008671" y="3639216"/>
            <a:ext cx="0" cy="271153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39" name="Rectangle 138"/>
          <p:cNvSpPr/>
          <p:nvPr/>
        </p:nvSpPr>
        <p:spPr>
          <a:xfrm>
            <a:off x="3609154" y="3823914"/>
            <a:ext cx="1565885" cy="108956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Ensure </a:t>
            </a:r>
            <a:r>
              <a:rPr lang="en-US" sz="10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Fx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terms are aligned with local vendor needs (</a:t>
            </a:r>
            <a:r>
              <a:rPr lang="en-US" sz="10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ie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. Shorter payment time, minimum </a:t>
            </a:r>
            <a:r>
              <a:rPr lang="en-US" sz="10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HSEQ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requirements, purchase amount in line with financial capacity)</a:t>
            </a:r>
          </a:p>
        </p:txBody>
      </p:sp>
      <p:cxnSp>
        <p:nvCxnSpPr>
          <p:cNvPr id="140" name="Straight Connector 139"/>
          <p:cNvCxnSpPr>
            <a:endCxn id="141" idx="0"/>
          </p:cNvCxnSpPr>
          <p:nvPr/>
        </p:nvCxnSpPr>
        <p:spPr>
          <a:xfrm flipH="1">
            <a:off x="2068900" y="5232588"/>
            <a:ext cx="0" cy="99591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41" name="Rectangle 140"/>
          <p:cNvSpPr/>
          <p:nvPr/>
        </p:nvSpPr>
        <p:spPr>
          <a:xfrm>
            <a:off x="1510267" y="5332179"/>
            <a:ext cx="1117265" cy="631349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Include CSR representative as part of sourcing team</a:t>
            </a:r>
          </a:p>
        </p:txBody>
      </p:sp>
      <p:cxnSp>
        <p:nvCxnSpPr>
          <p:cNvPr id="143" name="Straight Connector 142"/>
          <p:cNvCxnSpPr>
            <a:endCxn id="144" idx="2"/>
          </p:cNvCxnSpPr>
          <p:nvPr/>
        </p:nvCxnSpPr>
        <p:spPr>
          <a:xfrm flipH="1" flipV="1">
            <a:off x="6063344" y="2724615"/>
            <a:ext cx="2176" cy="147489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44" name="Rectangle 143"/>
          <p:cNvSpPr/>
          <p:nvPr/>
        </p:nvSpPr>
        <p:spPr>
          <a:xfrm>
            <a:off x="5339807" y="2093266"/>
            <a:ext cx="1447073" cy="631349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efine clarification time for </a:t>
            </a:r>
            <a:r>
              <a:rPr lang="en-US" sz="10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Fx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aligned with community needs (</a:t>
            </a:r>
            <a:r>
              <a:rPr lang="en-US" sz="10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ie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. Longer lead times)</a:t>
            </a:r>
          </a:p>
        </p:txBody>
      </p:sp>
      <p:cxnSp>
        <p:nvCxnSpPr>
          <p:cNvPr id="145" name="Straight Connector 144"/>
          <p:cNvCxnSpPr>
            <a:endCxn id="146" idx="2"/>
          </p:cNvCxnSpPr>
          <p:nvPr/>
        </p:nvCxnSpPr>
        <p:spPr>
          <a:xfrm flipH="1" flipV="1">
            <a:off x="3478249" y="2724615"/>
            <a:ext cx="2176" cy="147489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46" name="Rectangle 145"/>
          <p:cNvSpPr/>
          <p:nvPr/>
        </p:nvSpPr>
        <p:spPr>
          <a:xfrm>
            <a:off x="2754712" y="2093266"/>
            <a:ext cx="1447073" cy="631349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Promote use of standard </a:t>
            </a:r>
            <a:r>
              <a:rPr lang="en-US" sz="10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Fx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format previously socialized with local vendors</a:t>
            </a:r>
          </a:p>
        </p:txBody>
      </p:sp>
      <p:cxnSp>
        <p:nvCxnSpPr>
          <p:cNvPr id="147" name="Straight Connector 146"/>
          <p:cNvCxnSpPr>
            <a:endCxn id="148" idx="3"/>
          </p:cNvCxnSpPr>
          <p:nvPr/>
        </p:nvCxnSpPr>
        <p:spPr>
          <a:xfrm flipH="1">
            <a:off x="10830918" y="2524723"/>
            <a:ext cx="105674" cy="10340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148" name="Rectangle 147"/>
          <p:cNvSpPr/>
          <p:nvPr/>
        </p:nvSpPr>
        <p:spPr>
          <a:xfrm>
            <a:off x="9314608" y="2219388"/>
            <a:ext cx="1516310" cy="631349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Promote use of standard contract format previously socialized with local vendors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0479171" y="4400908"/>
            <a:ext cx="1516310" cy="631349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54864" tIns="54864" rIns="54864" bIns="54864" rtlCol="0" anchor="ctr" anchorCtr="0">
            <a:noAutofit/>
          </a:bodyPr>
          <a:lstStyle/>
          <a:p>
            <a:pPr algn="ctr"/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efine vendor development plan</a:t>
            </a:r>
            <a:r>
              <a:rPr lang="en-US" sz="1000" baseline="30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1</a:t>
            </a:r>
            <a:r>
              <a:rPr lang="en-US" sz="10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&amp; ensure follow-through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11910779" y="2746879"/>
            <a:ext cx="0" cy="1654008"/>
          </a:xfrm>
          <a:prstGeom prst="line">
            <a:avLst/>
          </a:prstGeom>
          <a:noFill/>
          <a:ln w="19050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7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3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74" name="NavigationIcon"/>
          <p:cNvSpPr>
            <a:spLocks noChangeAspect="1"/>
          </p:cNvSpPr>
          <p:nvPr/>
        </p:nvSpPr>
        <p:spPr bwMode="auto">
          <a:xfrm>
            <a:off x="11737636" y="132877"/>
            <a:ext cx="271576" cy="365760"/>
          </a:xfrm>
          <a:custGeom>
            <a:avLst/>
            <a:gdLst>
              <a:gd name="connsiteX0" fmla="*/ 926427 w 999551"/>
              <a:gd name="connsiteY0" fmla="*/ 1074664 h 1346201"/>
              <a:gd name="connsiteX1" fmla="*/ 915066 w 999551"/>
              <a:gd name="connsiteY1" fmla="*/ 1078848 h 1346201"/>
              <a:gd name="connsiteX2" fmla="*/ 898607 w 999551"/>
              <a:gd name="connsiteY2" fmla="*/ 1094518 h 1346201"/>
              <a:gd name="connsiteX3" fmla="*/ 867121 w 999551"/>
              <a:gd name="connsiteY3" fmla="*/ 1124433 h 1346201"/>
              <a:gd name="connsiteX4" fmla="*/ 764073 w 999551"/>
              <a:gd name="connsiteY4" fmla="*/ 1223437 h 1346201"/>
              <a:gd name="connsiteX5" fmla="*/ 695375 w 999551"/>
              <a:gd name="connsiteY5" fmla="*/ 1155060 h 1346201"/>
              <a:gd name="connsiteX6" fmla="*/ 673191 w 999551"/>
              <a:gd name="connsiteY6" fmla="*/ 1155060 h 1346201"/>
              <a:gd name="connsiteX7" fmla="*/ 673191 w 999551"/>
              <a:gd name="connsiteY7" fmla="*/ 1177140 h 1346201"/>
              <a:gd name="connsiteX8" fmla="*/ 752623 w 999551"/>
              <a:gd name="connsiteY8" fmla="*/ 1256202 h 1346201"/>
              <a:gd name="connsiteX9" fmla="*/ 763357 w 999551"/>
              <a:gd name="connsiteY9" fmla="*/ 1260475 h 1346201"/>
              <a:gd name="connsiteX10" fmla="*/ 774092 w 999551"/>
              <a:gd name="connsiteY10" fmla="*/ 1256202 h 1346201"/>
              <a:gd name="connsiteX11" fmla="*/ 867121 w 999551"/>
              <a:gd name="connsiteY11" fmla="*/ 1167881 h 1346201"/>
              <a:gd name="connsiteX12" fmla="*/ 898607 w 999551"/>
              <a:gd name="connsiteY12" fmla="*/ 1137966 h 1346201"/>
              <a:gd name="connsiteX13" fmla="*/ 936535 w 999551"/>
              <a:gd name="connsiteY13" fmla="*/ 1101641 h 1346201"/>
              <a:gd name="connsiteX14" fmla="*/ 937250 w 999551"/>
              <a:gd name="connsiteY14" fmla="*/ 1079560 h 1346201"/>
              <a:gd name="connsiteX15" fmla="*/ 926427 w 999551"/>
              <a:gd name="connsiteY15" fmla="*/ 1074664 h 1346201"/>
              <a:gd name="connsiteX16" fmla="*/ 152230 w 999551"/>
              <a:gd name="connsiteY16" fmla="*/ 1057275 h 1346201"/>
              <a:gd name="connsiteX17" fmla="*/ 604838 w 999551"/>
              <a:gd name="connsiteY17" fmla="*/ 1057275 h 1346201"/>
              <a:gd name="connsiteX18" fmla="*/ 592702 w 999551"/>
              <a:gd name="connsiteY18" fmla="*/ 1089025 h 1346201"/>
              <a:gd name="connsiteX19" fmla="*/ 152230 w 999551"/>
              <a:gd name="connsiteY19" fmla="*/ 1089025 h 1346201"/>
              <a:gd name="connsiteX20" fmla="*/ 136525 w 999551"/>
              <a:gd name="connsiteY20" fmla="*/ 1073150 h 1346201"/>
              <a:gd name="connsiteX21" fmla="*/ 152230 w 999551"/>
              <a:gd name="connsiteY21" fmla="*/ 1057275 h 1346201"/>
              <a:gd name="connsiteX22" fmla="*/ 806847 w 999551"/>
              <a:gd name="connsiteY22" fmla="*/ 960438 h 1346201"/>
              <a:gd name="connsiteX23" fmla="*/ 867569 w 999551"/>
              <a:gd name="connsiteY23" fmla="*/ 970439 h 1346201"/>
              <a:gd name="connsiteX24" fmla="*/ 899002 w 999551"/>
              <a:gd name="connsiteY24" fmla="*/ 984013 h 1346201"/>
              <a:gd name="connsiteX25" fmla="*/ 945436 w 999551"/>
              <a:gd name="connsiteY25" fmla="*/ 1019731 h 1346201"/>
              <a:gd name="connsiteX26" fmla="*/ 956866 w 999551"/>
              <a:gd name="connsiteY26" fmla="*/ 1274764 h 1346201"/>
              <a:gd name="connsiteX27" fmla="*/ 940436 w 999551"/>
              <a:gd name="connsiteY27" fmla="*/ 1292623 h 1346201"/>
              <a:gd name="connsiteX28" fmla="*/ 924719 w 999551"/>
              <a:gd name="connsiteY28" fmla="*/ 1306196 h 1346201"/>
              <a:gd name="connsiteX29" fmla="*/ 924005 w 999551"/>
              <a:gd name="connsiteY29" fmla="*/ 1306196 h 1346201"/>
              <a:gd name="connsiteX30" fmla="*/ 806847 w 999551"/>
              <a:gd name="connsiteY30" fmla="*/ 1346201 h 1346201"/>
              <a:gd name="connsiteX31" fmla="*/ 688975 w 999551"/>
              <a:gd name="connsiteY31" fmla="*/ 1306196 h 1346201"/>
              <a:gd name="connsiteX32" fmla="*/ 667544 w 999551"/>
              <a:gd name="connsiteY32" fmla="*/ 1287622 h 1346201"/>
              <a:gd name="connsiteX33" fmla="*/ 656828 w 999551"/>
              <a:gd name="connsiteY33" fmla="*/ 1274764 h 1346201"/>
              <a:gd name="connsiteX34" fmla="*/ 625396 w 999551"/>
              <a:gd name="connsiteY34" fmla="*/ 1088311 h 1346201"/>
              <a:gd name="connsiteX35" fmla="*/ 639683 w 999551"/>
              <a:gd name="connsiteY35" fmla="*/ 1056879 h 1346201"/>
              <a:gd name="connsiteX36" fmla="*/ 673259 w 999551"/>
              <a:gd name="connsiteY36" fmla="*/ 1014731 h 1346201"/>
              <a:gd name="connsiteX37" fmla="*/ 740410 w 999551"/>
              <a:gd name="connsiteY37" fmla="*/ 972583 h 1346201"/>
              <a:gd name="connsiteX38" fmla="*/ 760413 w 999551"/>
              <a:gd name="connsiteY38" fmla="*/ 966153 h 1346201"/>
              <a:gd name="connsiteX39" fmla="*/ 806847 w 999551"/>
              <a:gd name="connsiteY39" fmla="*/ 960438 h 1346201"/>
              <a:gd name="connsiteX40" fmla="*/ 152218 w 999551"/>
              <a:gd name="connsiteY40" fmla="*/ 941388 h 1346201"/>
              <a:gd name="connsiteX41" fmla="*/ 735013 w 999551"/>
              <a:gd name="connsiteY41" fmla="*/ 941388 h 1346201"/>
              <a:gd name="connsiteX42" fmla="*/ 674380 w 999551"/>
              <a:gd name="connsiteY42" fmla="*/ 973138 h 1346201"/>
              <a:gd name="connsiteX43" fmla="*/ 152218 w 999551"/>
              <a:gd name="connsiteY43" fmla="*/ 973138 h 1346201"/>
              <a:gd name="connsiteX44" fmla="*/ 136525 w 999551"/>
              <a:gd name="connsiteY44" fmla="*/ 957263 h 1346201"/>
              <a:gd name="connsiteX45" fmla="*/ 152218 w 999551"/>
              <a:gd name="connsiteY45" fmla="*/ 941388 h 1346201"/>
              <a:gd name="connsiteX46" fmla="*/ 152237 w 999551"/>
              <a:gd name="connsiteY46" fmla="*/ 825500 h 1346201"/>
              <a:gd name="connsiteX47" fmla="*/ 747876 w 999551"/>
              <a:gd name="connsiteY47" fmla="*/ 825500 h 1346201"/>
              <a:gd name="connsiteX48" fmla="*/ 763588 w 999551"/>
              <a:gd name="connsiteY48" fmla="*/ 841375 h 1346201"/>
              <a:gd name="connsiteX49" fmla="*/ 747876 w 999551"/>
              <a:gd name="connsiteY49" fmla="*/ 857250 h 1346201"/>
              <a:gd name="connsiteX50" fmla="*/ 152237 w 999551"/>
              <a:gd name="connsiteY50" fmla="*/ 857250 h 1346201"/>
              <a:gd name="connsiteX51" fmla="*/ 136525 w 999551"/>
              <a:gd name="connsiteY51" fmla="*/ 841375 h 1346201"/>
              <a:gd name="connsiteX52" fmla="*/ 152237 w 999551"/>
              <a:gd name="connsiteY52" fmla="*/ 825500 h 1346201"/>
              <a:gd name="connsiteX53" fmla="*/ 152237 w 999551"/>
              <a:gd name="connsiteY53" fmla="*/ 709613 h 1346201"/>
              <a:gd name="connsiteX54" fmla="*/ 747876 w 999551"/>
              <a:gd name="connsiteY54" fmla="*/ 709613 h 1346201"/>
              <a:gd name="connsiteX55" fmla="*/ 763588 w 999551"/>
              <a:gd name="connsiteY55" fmla="*/ 725488 h 1346201"/>
              <a:gd name="connsiteX56" fmla="*/ 747876 w 999551"/>
              <a:gd name="connsiteY56" fmla="*/ 741363 h 1346201"/>
              <a:gd name="connsiteX57" fmla="*/ 152237 w 999551"/>
              <a:gd name="connsiteY57" fmla="*/ 741363 h 1346201"/>
              <a:gd name="connsiteX58" fmla="*/ 136525 w 999551"/>
              <a:gd name="connsiteY58" fmla="*/ 725488 h 1346201"/>
              <a:gd name="connsiteX59" fmla="*/ 152237 w 999551"/>
              <a:gd name="connsiteY59" fmla="*/ 709613 h 1346201"/>
              <a:gd name="connsiteX60" fmla="*/ 152237 w 999551"/>
              <a:gd name="connsiteY60" fmla="*/ 593725 h 1346201"/>
              <a:gd name="connsiteX61" fmla="*/ 747876 w 999551"/>
              <a:gd name="connsiteY61" fmla="*/ 593725 h 1346201"/>
              <a:gd name="connsiteX62" fmla="*/ 763588 w 999551"/>
              <a:gd name="connsiteY62" fmla="*/ 609600 h 1346201"/>
              <a:gd name="connsiteX63" fmla="*/ 747876 w 999551"/>
              <a:gd name="connsiteY63" fmla="*/ 625475 h 1346201"/>
              <a:gd name="connsiteX64" fmla="*/ 152237 w 999551"/>
              <a:gd name="connsiteY64" fmla="*/ 625475 h 1346201"/>
              <a:gd name="connsiteX65" fmla="*/ 136525 w 999551"/>
              <a:gd name="connsiteY65" fmla="*/ 609600 h 1346201"/>
              <a:gd name="connsiteX66" fmla="*/ 152237 w 999551"/>
              <a:gd name="connsiteY66" fmla="*/ 593725 h 1346201"/>
              <a:gd name="connsiteX67" fmla="*/ 152237 w 999551"/>
              <a:gd name="connsiteY67" fmla="*/ 477838 h 1346201"/>
              <a:gd name="connsiteX68" fmla="*/ 747876 w 999551"/>
              <a:gd name="connsiteY68" fmla="*/ 477838 h 1346201"/>
              <a:gd name="connsiteX69" fmla="*/ 763588 w 999551"/>
              <a:gd name="connsiteY69" fmla="*/ 493713 h 1346201"/>
              <a:gd name="connsiteX70" fmla="*/ 747876 w 999551"/>
              <a:gd name="connsiteY70" fmla="*/ 509588 h 1346201"/>
              <a:gd name="connsiteX71" fmla="*/ 152237 w 999551"/>
              <a:gd name="connsiteY71" fmla="*/ 509588 h 1346201"/>
              <a:gd name="connsiteX72" fmla="*/ 136525 w 999551"/>
              <a:gd name="connsiteY72" fmla="*/ 493713 h 1346201"/>
              <a:gd name="connsiteX73" fmla="*/ 152237 w 999551"/>
              <a:gd name="connsiteY73" fmla="*/ 477838 h 1346201"/>
              <a:gd name="connsiteX74" fmla="*/ 152237 w 999551"/>
              <a:gd name="connsiteY74" fmla="*/ 361950 h 1346201"/>
              <a:gd name="connsiteX75" fmla="*/ 747876 w 999551"/>
              <a:gd name="connsiteY75" fmla="*/ 361950 h 1346201"/>
              <a:gd name="connsiteX76" fmla="*/ 763588 w 999551"/>
              <a:gd name="connsiteY76" fmla="*/ 377825 h 1346201"/>
              <a:gd name="connsiteX77" fmla="*/ 747876 w 999551"/>
              <a:gd name="connsiteY77" fmla="*/ 393700 h 1346201"/>
              <a:gd name="connsiteX78" fmla="*/ 152237 w 999551"/>
              <a:gd name="connsiteY78" fmla="*/ 393700 h 1346201"/>
              <a:gd name="connsiteX79" fmla="*/ 136525 w 999551"/>
              <a:gd name="connsiteY79" fmla="*/ 377825 h 1346201"/>
              <a:gd name="connsiteX80" fmla="*/ 152237 w 999551"/>
              <a:gd name="connsiteY80" fmla="*/ 361950 h 1346201"/>
              <a:gd name="connsiteX81" fmla="*/ 625475 w 999551"/>
              <a:gd name="connsiteY81" fmla="*/ 114300 h 1346201"/>
              <a:gd name="connsiteX82" fmla="*/ 882800 w 999551"/>
              <a:gd name="connsiteY82" fmla="*/ 114300 h 1346201"/>
              <a:gd name="connsiteX83" fmla="*/ 898525 w 999551"/>
              <a:gd name="connsiteY83" fmla="*/ 130001 h 1346201"/>
              <a:gd name="connsiteX84" fmla="*/ 898525 w 999551"/>
              <a:gd name="connsiteY84" fmla="*/ 949325 h 1346201"/>
              <a:gd name="connsiteX85" fmla="*/ 867074 w 999551"/>
              <a:gd name="connsiteY85" fmla="*/ 937906 h 1346201"/>
              <a:gd name="connsiteX86" fmla="*/ 867074 w 999551"/>
              <a:gd name="connsiteY86" fmla="*/ 145703 h 1346201"/>
              <a:gd name="connsiteX87" fmla="*/ 625475 w 999551"/>
              <a:gd name="connsiteY87" fmla="*/ 145703 h 1346201"/>
              <a:gd name="connsiteX88" fmla="*/ 625475 w 999551"/>
              <a:gd name="connsiteY88" fmla="*/ 114300 h 1346201"/>
              <a:gd name="connsiteX89" fmla="*/ 15734 w 999551"/>
              <a:gd name="connsiteY89" fmla="*/ 114300 h 1346201"/>
              <a:gd name="connsiteX90" fmla="*/ 273195 w 999551"/>
              <a:gd name="connsiteY90" fmla="*/ 114300 h 1346201"/>
              <a:gd name="connsiteX91" fmla="*/ 273195 w 999551"/>
              <a:gd name="connsiteY91" fmla="*/ 145712 h 1346201"/>
              <a:gd name="connsiteX92" fmla="*/ 31468 w 999551"/>
              <a:gd name="connsiteY92" fmla="*/ 145712 h 1346201"/>
              <a:gd name="connsiteX93" fmla="*/ 31468 w 999551"/>
              <a:gd name="connsiteY93" fmla="*/ 1275102 h 1346201"/>
              <a:gd name="connsiteX94" fmla="*/ 618622 w 999551"/>
              <a:gd name="connsiteY94" fmla="*/ 1275102 h 1346201"/>
              <a:gd name="connsiteX95" fmla="*/ 642938 w 999551"/>
              <a:gd name="connsiteY95" fmla="*/ 1306513 h 1346201"/>
              <a:gd name="connsiteX96" fmla="*/ 15734 w 999551"/>
              <a:gd name="connsiteY96" fmla="*/ 1306513 h 1346201"/>
              <a:gd name="connsiteX97" fmla="*/ 0 w 999551"/>
              <a:gd name="connsiteY97" fmla="*/ 1290807 h 1346201"/>
              <a:gd name="connsiteX98" fmla="*/ 0 w 999551"/>
              <a:gd name="connsiteY98" fmla="*/ 130006 h 1346201"/>
              <a:gd name="connsiteX99" fmla="*/ 15734 w 999551"/>
              <a:gd name="connsiteY99" fmla="*/ 114300 h 1346201"/>
              <a:gd name="connsiteX100" fmla="*/ 449263 w 999551"/>
              <a:gd name="connsiteY100" fmla="*/ 31750 h 1346201"/>
              <a:gd name="connsiteX101" fmla="*/ 427180 w 999551"/>
              <a:gd name="connsiteY101" fmla="*/ 35314 h 1346201"/>
              <a:gd name="connsiteX102" fmla="*/ 393700 w 999551"/>
              <a:gd name="connsiteY102" fmla="*/ 66675 h 1346201"/>
              <a:gd name="connsiteX103" fmla="*/ 504825 w 999551"/>
              <a:gd name="connsiteY103" fmla="*/ 66675 h 1346201"/>
              <a:gd name="connsiteX104" fmla="*/ 471345 w 999551"/>
              <a:gd name="connsiteY104" fmla="*/ 35314 h 1346201"/>
              <a:gd name="connsiteX105" fmla="*/ 449263 w 999551"/>
              <a:gd name="connsiteY105" fmla="*/ 31750 h 1346201"/>
              <a:gd name="connsiteX106" fmla="*/ 449262 w 999551"/>
              <a:gd name="connsiteY106" fmla="*/ 0 h 1346201"/>
              <a:gd name="connsiteX107" fmla="*/ 522287 w 999551"/>
              <a:gd name="connsiteY107" fmla="*/ 34890 h 1346201"/>
              <a:gd name="connsiteX108" fmla="*/ 538754 w 999551"/>
              <a:gd name="connsiteY108" fmla="*/ 66220 h 1346201"/>
              <a:gd name="connsiteX109" fmla="*/ 588153 w 999551"/>
              <a:gd name="connsiteY109" fmla="*/ 66220 h 1346201"/>
              <a:gd name="connsiteX110" fmla="*/ 595312 w 999551"/>
              <a:gd name="connsiteY110" fmla="*/ 73340 h 1346201"/>
              <a:gd name="connsiteX111" fmla="*/ 595312 w 999551"/>
              <a:gd name="connsiteY111" fmla="*/ 113927 h 1346201"/>
              <a:gd name="connsiteX112" fmla="*/ 595312 w 999551"/>
              <a:gd name="connsiteY112" fmla="*/ 145256 h 1346201"/>
              <a:gd name="connsiteX113" fmla="*/ 595312 w 999551"/>
              <a:gd name="connsiteY113" fmla="*/ 178010 h 1346201"/>
              <a:gd name="connsiteX114" fmla="*/ 579562 w 999551"/>
              <a:gd name="connsiteY114" fmla="*/ 193675 h 1346201"/>
              <a:gd name="connsiteX115" fmla="*/ 318963 w 999551"/>
              <a:gd name="connsiteY115" fmla="*/ 193675 h 1346201"/>
              <a:gd name="connsiteX116" fmla="*/ 303212 w 999551"/>
              <a:gd name="connsiteY116" fmla="*/ 178010 h 1346201"/>
              <a:gd name="connsiteX117" fmla="*/ 303212 w 999551"/>
              <a:gd name="connsiteY117" fmla="*/ 145256 h 1346201"/>
              <a:gd name="connsiteX118" fmla="*/ 303212 w 999551"/>
              <a:gd name="connsiteY118" fmla="*/ 113927 h 1346201"/>
              <a:gd name="connsiteX119" fmla="*/ 303212 w 999551"/>
              <a:gd name="connsiteY119" fmla="*/ 73340 h 1346201"/>
              <a:gd name="connsiteX120" fmla="*/ 310372 w 999551"/>
              <a:gd name="connsiteY120" fmla="*/ 66220 h 1346201"/>
              <a:gd name="connsiteX121" fmla="*/ 359771 w 999551"/>
              <a:gd name="connsiteY121" fmla="*/ 66220 h 1346201"/>
              <a:gd name="connsiteX122" fmla="*/ 376237 w 999551"/>
              <a:gd name="connsiteY122" fmla="*/ 34890 h 1346201"/>
              <a:gd name="connsiteX123" fmla="*/ 449262 w 999551"/>
              <a:gd name="connsiteY123" fmla="*/ 0 h 134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999551" h="1346201">
                <a:moveTo>
                  <a:pt x="926427" y="1074664"/>
                </a:moveTo>
                <a:cubicBezTo>
                  <a:pt x="922401" y="1074575"/>
                  <a:pt x="918286" y="1075999"/>
                  <a:pt x="915066" y="1078848"/>
                </a:cubicBezTo>
                <a:cubicBezTo>
                  <a:pt x="915066" y="1078848"/>
                  <a:pt x="915066" y="1078848"/>
                  <a:pt x="898607" y="1094518"/>
                </a:cubicBezTo>
                <a:cubicBezTo>
                  <a:pt x="898607" y="1094518"/>
                  <a:pt x="898607" y="1094518"/>
                  <a:pt x="867121" y="1124433"/>
                </a:cubicBezTo>
                <a:cubicBezTo>
                  <a:pt x="867121" y="1124433"/>
                  <a:pt x="867121" y="1124433"/>
                  <a:pt x="764073" y="1223437"/>
                </a:cubicBezTo>
                <a:cubicBezTo>
                  <a:pt x="764073" y="1223437"/>
                  <a:pt x="764073" y="1223437"/>
                  <a:pt x="695375" y="1155060"/>
                </a:cubicBezTo>
                <a:cubicBezTo>
                  <a:pt x="688934" y="1148650"/>
                  <a:pt x="678916" y="1148650"/>
                  <a:pt x="673191" y="1155060"/>
                </a:cubicBezTo>
                <a:cubicBezTo>
                  <a:pt x="666750" y="1160758"/>
                  <a:pt x="666750" y="1170730"/>
                  <a:pt x="673191" y="1177140"/>
                </a:cubicBezTo>
                <a:cubicBezTo>
                  <a:pt x="673191" y="1177140"/>
                  <a:pt x="673191" y="1177140"/>
                  <a:pt x="752623" y="1256202"/>
                </a:cubicBezTo>
                <a:cubicBezTo>
                  <a:pt x="755486" y="1259051"/>
                  <a:pt x="759779" y="1260475"/>
                  <a:pt x="763357" y="1260475"/>
                </a:cubicBezTo>
                <a:cubicBezTo>
                  <a:pt x="767651" y="1260475"/>
                  <a:pt x="771229" y="1259051"/>
                  <a:pt x="774092" y="1256202"/>
                </a:cubicBezTo>
                <a:cubicBezTo>
                  <a:pt x="774092" y="1256202"/>
                  <a:pt x="774092" y="1256202"/>
                  <a:pt x="867121" y="1167881"/>
                </a:cubicBezTo>
                <a:cubicBezTo>
                  <a:pt x="867121" y="1167881"/>
                  <a:pt x="867121" y="1167881"/>
                  <a:pt x="898607" y="1137966"/>
                </a:cubicBezTo>
                <a:cubicBezTo>
                  <a:pt x="898607" y="1137966"/>
                  <a:pt x="898607" y="1137966"/>
                  <a:pt x="936535" y="1101641"/>
                </a:cubicBezTo>
                <a:cubicBezTo>
                  <a:pt x="942975" y="1095943"/>
                  <a:pt x="942975" y="1085971"/>
                  <a:pt x="937250" y="1079560"/>
                </a:cubicBezTo>
                <a:cubicBezTo>
                  <a:pt x="934388" y="1076355"/>
                  <a:pt x="930452" y="1074753"/>
                  <a:pt x="926427" y="1074664"/>
                </a:cubicBezTo>
                <a:close/>
                <a:moveTo>
                  <a:pt x="152230" y="1057275"/>
                </a:moveTo>
                <a:cubicBezTo>
                  <a:pt x="152230" y="1057275"/>
                  <a:pt x="152230" y="1057275"/>
                  <a:pt x="604838" y="1057275"/>
                </a:cubicBezTo>
                <a:cubicBezTo>
                  <a:pt x="599841" y="1067377"/>
                  <a:pt x="595557" y="1078201"/>
                  <a:pt x="592702" y="1089025"/>
                </a:cubicBezTo>
                <a:cubicBezTo>
                  <a:pt x="592702" y="1089025"/>
                  <a:pt x="592702" y="1089025"/>
                  <a:pt x="152230" y="1089025"/>
                </a:cubicBezTo>
                <a:cubicBezTo>
                  <a:pt x="142950" y="1089025"/>
                  <a:pt x="136525" y="1081809"/>
                  <a:pt x="136525" y="1073150"/>
                </a:cubicBezTo>
                <a:cubicBezTo>
                  <a:pt x="136525" y="1064491"/>
                  <a:pt x="142950" y="1057275"/>
                  <a:pt x="152230" y="1057275"/>
                </a:cubicBezTo>
                <a:close/>
                <a:moveTo>
                  <a:pt x="806847" y="960438"/>
                </a:moveTo>
                <a:cubicBezTo>
                  <a:pt x="827564" y="960438"/>
                  <a:pt x="848281" y="964010"/>
                  <a:pt x="867569" y="970439"/>
                </a:cubicBezTo>
                <a:cubicBezTo>
                  <a:pt x="878999" y="974011"/>
                  <a:pt x="889001" y="979012"/>
                  <a:pt x="899002" y="984013"/>
                </a:cubicBezTo>
                <a:cubicBezTo>
                  <a:pt x="916147" y="993299"/>
                  <a:pt x="931863" y="1005444"/>
                  <a:pt x="945436" y="1019731"/>
                </a:cubicBezTo>
                <a:cubicBezTo>
                  <a:pt x="1013302" y="1089740"/>
                  <a:pt x="1017588" y="1199754"/>
                  <a:pt x="956866" y="1274764"/>
                </a:cubicBezTo>
                <a:cubicBezTo>
                  <a:pt x="951866" y="1281193"/>
                  <a:pt x="946151" y="1286908"/>
                  <a:pt x="940436" y="1292623"/>
                </a:cubicBezTo>
                <a:cubicBezTo>
                  <a:pt x="934006" y="1298338"/>
                  <a:pt x="929720" y="1302624"/>
                  <a:pt x="924719" y="1306196"/>
                </a:cubicBezTo>
                <a:cubicBezTo>
                  <a:pt x="924719" y="1306196"/>
                  <a:pt x="924719" y="1306196"/>
                  <a:pt x="924005" y="1306196"/>
                </a:cubicBezTo>
                <a:cubicBezTo>
                  <a:pt x="891144" y="1331914"/>
                  <a:pt x="848996" y="1346201"/>
                  <a:pt x="806847" y="1346201"/>
                </a:cubicBezTo>
                <a:cubicBezTo>
                  <a:pt x="763270" y="1346201"/>
                  <a:pt x="722551" y="1332628"/>
                  <a:pt x="688975" y="1306196"/>
                </a:cubicBezTo>
                <a:cubicBezTo>
                  <a:pt x="681832" y="1300481"/>
                  <a:pt x="674688" y="1294052"/>
                  <a:pt x="667544" y="1287622"/>
                </a:cubicBezTo>
                <a:cubicBezTo>
                  <a:pt x="663972" y="1283336"/>
                  <a:pt x="660400" y="1279050"/>
                  <a:pt x="656828" y="1274764"/>
                </a:cubicBezTo>
                <a:cubicBezTo>
                  <a:pt x="613252" y="1221900"/>
                  <a:pt x="603250" y="1150462"/>
                  <a:pt x="625396" y="1088311"/>
                </a:cubicBezTo>
                <a:cubicBezTo>
                  <a:pt x="628968" y="1077596"/>
                  <a:pt x="633968" y="1066880"/>
                  <a:pt x="639683" y="1056879"/>
                </a:cubicBezTo>
                <a:cubicBezTo>
                  <a:pt x="648970" y="1041877"/>
                  <a:pt x="659686" y="1027589"/>
                  <a:pt x="673259" y="1014731"/>
                </a:cubicBezTo>
                <a:cubicBezTo>
                  <a:pt x="692547" y="995443"/>
                  <a:pt x="715407" y="981155"/>
                  <a:pt x="740410" y="972583"/>
                </a:cubicBezTo>
                <a:cubicBezTo>
                  <a:pt x="746840" y="969725"/>
                  <a:pt x="753269" y="968296"/>
                  <a:pt x="760413" y="966153"/>
                </a:cubicBezTo>
                <a:cubicBezTo>
                  <a:pt x="775415" y="962581"/>
                  <a:pt x="791131" y="960438"/>
                  <a:pt x="806847" y="960438"/>
                </a:cubicBezTo>
                <a:close/>
                <a:moveTo>
                  <a:pt x="152218" y="941388"/>
                </a:moveTo>
                <a:cubicBezTo>
                  <a:pt x="152218" y="941388"/>
                  <a:pt x="152218" y="941388"/>
                  <a:pt x="735013" y="941388"/>
                </a:cubicBezTo>
                <a:cubicBezTo>
                  <a:pt x="712900" y="948604"/>
                  <a:pt x="692926" y="959428"/>
                  <a:pt x="674380" y="973138"/>
                </a:cubicBezTo>
                <a:cubicBezTo>
                  <a:pt x="674380" y="973138"/>
                  <a:pt x="674380" y="973138"/>
                  <a:pt x="152218" y="973138"/>
                </a:cubicBezTo>
                <a:cubicBezTo>
                  <a:pt x="142945" y="973138"/>
                  <a:pt x="136525" y="965922"/>
                  <a:pt x="136525" y="957263"/>
                </a:cubicBezTo>
                <a:cubicBezTo>
                  <a:pt x="136525" y="948604"/>
                  <a:pt x="142945" y="941388"/>
                  <a:pt x="152218" y="941388"/>
                </a:cubicBezTo>
                <a:close/>
                <a:moveTo>
                  <a:pt x="152237" y="825500"/>
                </a:moveTo>
                <a:cubicBezTo>
                  <a:pt x="152237" y="825500"/>
                  <a:pt x="152237" y="825500"/>
                  <a:pt x="747876" y="825500"/>
                </a:cubicBezTo>
                <a:cubicBezTo>
                  <a:pt x="757160" y="825500"/>
                  <a:pt x="763588" y="832716"/>
                  <a:pt x="763588" y="841375"/>
                </a:cubicBezTo>
                <a:cubicBezTo>
                  <a:pt x="763588" y="850756"/>
                  <a:pt x="757160" y="857250"/>
                  <a:pt x="747876" y="857250"/>
                </a:cubicBezTo>
                <a:cubicBezTo>
                  <a:pt x="747876" y="857250"/>
                  <a:pt x="747876" y="857250"/>
                  <a:pt x="152237" y="857250"/>
                </a:cubicBezTo>
                <a:cubicBezTo>
                  <a:pt x="142953" y="857250"/>
                  <a:pt x="136525" y="850756"/>
                  <a:pt x="136525" y="841375"/>
                </a:cubicBezTo>
                <a:cubicBezTo>
                  <a:pt x="136525" y="832716"/>
                  <a:pt x="142953" y="825500"/>
                  <a:pt x="152237" y="825500"/>
                </a:cubicBezTo>
                <a:close/>
                <a:moveTo>
                  <a:pt x="152237" y="709613"/>
                </a:moveTo>
                <a:cubicBezTo>
                  <a:pt x="152237" y="709613"/>
                  <a:pt x="152237" y="709613"/>
                  <a:pt x="747876" y="709613"/>
                </a:cubicBezTo>
                <a:cubicBezTo>
                  <a:pt x="757160" y="709613"/>
                  <a:pt x="763588" y="716829"/>
                  <a:pt x="763588" y="725488"/>
                </a:cubicBezTo>
                <a:cubicBezTo>
                  <a:pt x="763588" y="734147"/>
                  <a:pt x="757160" y="741363"/>
                  <a:pt x="747876" y="741363"/>
                </a:cubicBezTo>
                <a:cubicBezTo>
                  <a:pt x="747876" y="741363"/>
                  <a:pt x="747876" y="741363"/>
                  <a:pt x="152237" y="741363"/>
                </a:cubicBezTo>
                <a:cubicBezTo>
                  <a:pt x="142953" y="741363"/>
                  <a:pt x="136525" y="734147"/>
                  <a:pt x="136525" y="725488"/>
                </a:cubicBezTo>
                <a:cubicBezTo>
                  <a:pt x="136525" y="716829"/>
                  <a:pt x="142953" y="709613"/>
                  <a:pt x="152237" y="709613"/>
                </a:cubicBezTo>
                <a:close/>
                <a:moveTo>
                  <a:pt x="152237" y="593725"/>
                </a:moveTo>
                <a:cubicBezTo>
                  <a:pt x="152237" y="593725"/>
                  <a:pt x="152237" y="593725"/>
                  <a:pt x="747876" y="593725"/>
                </a:cubicBezTo>
                <a:cubicBezTo>
                  <a:pt x="757160" y="593725"/>
                  <a:pt x="763588" y="600941"/>
                  <a:pt x="763588" y="609600"/>
                </a:cubicBezTo>
                <a:cubicBezTo>
                  <a:pt x="763588" y="618259"/>
                  <a:pt x="757160" y="625475"/>
                  <a:pt x="747876" y="625475"/>
                </a:cubicBezTo>
                <a:cubicBezTo>
                  <a:pt x="747876" y="625475"/>
                  <a:pt x="747876" y="625475"/>
                  <a:pt x="152237" y="625475"/>
                </a:cubicBezTo>
                <a:cubicBezTo>
                  <a:pt x="142953" y="625475"/>
                  <a:pt x="136525" y="618259"/>
                  <a:pt x="136525" y="609600"/>
                </a:cubicBezTo>
                <a:cubicBezTo>
                  <a:pt x="136525" y="600941"/>
                  <a:pt x="142953" y="593725"/>
                  <a:pt x="152237" y="593725"/>
                </a:cubicBezTo>
                <a:close/>
                <a:moveTo>
                  <a:pt x="152237" y="477838"/>
                </a:moveTo>
                <a:cubicBezTo>
                  <a:pt x="152237" y="477838"/>
                  <a:pt x="152237" y="477838"/>
                  <a:pt x="747876" y="477838"/>
                </a:cubicBezTo>
                <a:cubicBezTo>
                  <a:pt x="757160" y="477838"/>
                  <a:pt x="763588" y="484332"/>
                  <a:pt x="763588" y="493713"/>
                </a:cubicBezTo>
                <a:cubicBezTo>
                  <a:pt x="763588" y="502372"/>
                  <a:pt x="757160" y="509588"/>
                  <a:pt x="747876" y="509588"/>
                </a:cubicBezTo>
                <a:cubicBezTo>
                  <a:pt x="747876" y="509588"/>
                  <a:pt x="747876" y="509588"/>
                  <a:pt x="152237" y="509588"/>
                </a:cubicBezTo>
                <a:cubicBezTo>
                  <a:pt x="142953" y="509588"/>
                  <a:pt x="136525" y="502372"/>
                  <a:pt x="136525" y="493713"/>
                </a:cubicBezTo>
                <a:cubicBezTo>
                  <a:pt x="136525" y="484332"/>
                  <a:pt x="142953" y="477838"/>
                  <a:pt x="152237" y="477838"/>
                </a:cubicBezTo>
                <a:close/>
                <a:moveTo>
                  <a:pt x="152237" y="361950"/>
                </a:moveTo>
                <a:cubicBezTo>
                  <a:pt x="152237" y="361950"/>
                  <a:pt x="152237" y="361950"/>
                  <a:pt x="747876" y="361950"/>
                </a:cubicBezTo>
                <a:cubicBezTo>
                  <a:pt x="757160" y="361950"/>
                  <a:pt x="763588" y="369166"/>
                  <a:pt x="763588" y="377825"/>
                </a:cubicBezTo>
                <a:cubicBezTo>
                  <a:pt x="763588" y="386484"/>
                  <a:pt x="757160" y="393700"/>
                  <a:pt x="747876" y="393700"/>
                </a:cubicBezTo>
                <a:cubicBezTo>
                  <a:pt x="747876" y="393700"/>
                  <a:pt x="747876" y="393700"/>
                  <a:pt x="152237" y="393700"/>
                </a:cubicBezTo>
                <a:cubicBezTo>
                  <a:pt x="142953" y="393700"/>
                  <a:pt x="136525" y="386484"/>
                  <a:pt x="136525" y="377825"/>
                </a:cubicBezTo>
                <a:cubicBezTo>
                  <a:pt x="136525" y="369166"/>
                  <a:pt x="142953" y="361950"/>
                  <a:pt x="152237" y="361950"/>
                </a:cubicBezTo>
                <a:close/>
                <a:moveTo>
                  <a:pt x="625475" y="114300"/>
                </a:moveTo>
                <a:cubicBezTo>
                  <a:pt x="625475" y="114300"/>
                  <a:pt x="625475" y="114300"/>
                  <a:pt x="882800" y="114300"/>
                </a:cubicBezTo>
                <a:cubicBezTo>
                  <a:pt x="892092" y="114300"/>
                  <a:pt x="898525" y="121437"/>
                  <a:pt x="898525" y="130001"/>
                </a:cubicBezTo>
                <a:cubicBezTo>
                  <a:pt x="898525" y="130001"/>
                  <a:pt x="898525" y="130001"/>
                  <a:pt x="898525" y="949325"/>
                </a:cubicBezTo>
                <a:cubicBezTo>
                  <a:pt x="888518" y="945043"/>
                  <a:pt x="878511" y="940761"/>
                  <a:pt x="867074" y="937906"/>
                </a:cubicBezTo>
                <a:cubicBezTo>
                  <a:pt x="867074" y="937906"/>
                  <a:pt x="867074" y="937906"/>
                  <a:pt x="867074" y="145703"/>
                </a:cubicBezTo>
                <a:cubicBezTo>
                  <a:pt x="867074" y="145703"/>
                  <a:pt x="867074" y="145703"/>
                  <a:pt x="625475" y="145703"/>
                </a:cubicBezTo>
                <a:cubicBezTo>
                  <a:pt x="625475" y="145703"/>
                  <a:pt x="625475" y="145703"/>
                  <a:pt x="625475" y="114300"/>
                </a:cubicBezTo>
                <a:close/>
                <a:moveTo>
                  <a:pt x="15734" y="114300"/>
                </a:moveTo>
                <a:cubicBezTo>
                  <a:pt x="15734" y="114300"/>
                  <a:pt x="15734" y="114300"/>
                  <a:pt x="273195" y="114300"/>
                </a:cubicBezTo>
                <a:cubicBezTo>
                  <a:pt x="273195" y="114300"/>
                  <a:pt x="273195" y="114300"/>
                  <a:pt x="273195" y="145712"/>
                </a:cubicBezTo>
                <a:cubicBezTo>
                  <a:pt x="273195" y="145712"/>
                  <a:pt x="273195" y="145712"/>
                  <a:pt x="31468" y="145712"/>
                </a:cubicBezTo>
                <a:cubicBezTo>
                  <a:pt x="31468" y="145712"/>
                  <a:pt x="31468" y="145712"/>
                  <a:pt x="31468" y="1275102"/>
                </a:cubicBezTo>
                <a:cubicBezTo>
                  <a:pt x="31468" y="1275102"/>
                  <a:pt x="31468" y="1275102"/>
                  <a:pt x="618622" y="1275102"/>
                </a:cubicBezTo>
                <a:cubicBezTo>
                  <a:pt x="625774" y="1286524"/>
                  <a:pt x="633641" y="1297232"/>
                  <a:pt x="642938" y="1306513"/>
                </a:cubicBezTo>
                <a:cubicBezTo>
                  <a:pt x="642938" y="1306513"/>
                  <a:pt x="642938" y="1306513"/>
                  <a:pt x="15734" y="1306513"/>
                </a:cubicBezTo>
                <a:cubicBezTo>
                  <a:pt x="6437" y="1306513"/>
                  <a:pt x="0" y="1300088"/>
                  <a:pt x="0" y="1290807"/>
                </a:cubicBezTo>
                <a:cubicBezTo>
                  <a:pt x="0" y="1290807"/>
                  <a:pt x="0" y="1290807"/>
                  <a:pt x="0" y="130006"/>
                </a:cubicBezTo>
                <a:cubicBezTo>
                  <a:pt x="0" y="121439"/>
                  <a:pt x="6437" y="114300"/>
                  <a:pt x="15734" y="114300"/>
                </a:cubicBezTo>
                <a:close/>
                <a:moveTo>
                  <a:pt x="449263" y="31750"/>
                </a:moveTo>
                <a:cubicBezTo>
                  <a:pt x="441427" y="31750"/>
                  <a:pt x="434304" y="33176"/>
                  <a:pt x="427180" y="35314"/>
                </a:cubicBezTo>
                <a:cubicBezTo>
                  <a:pt x="412933" y="41016"/>
                  <a:pt x="400824" y="52420"/>
                  <a:pt x="393700" y="66675"/>
                </a:cubicBezTo>
                <a:cubicBezTo>
                  <a:pt x="393700" y="66675"/>
                  <a:pt x="393700" y="66675"/>
                  <a:pt x="504825" y="66675"/>
                </a:cubicBezTo>
                <a:cubicBezTo>
                  <a:pt x="497702" y="52420"/>
                  <a:pt x="485592" y="41016"/>
                  <a:pt x="471345" y="35314"/>
                </a:cubicBezTo>
                <a:cubicBezTo>
                  <a:pt x="464222" y="33176"/>
                  <a:pt x="457098" y="31750"/>
                  <a:pt x="449263" y="31750"/>
                </a:cubicBezTo>
                <a:close/>
                <a:moveTo>
                  <a:pt x="449262" y="0"/>
                </a:moveTo>
                <a:cubicBezTo>
                  <a:pt x="478615" y="0"/>
                  <a:pt x="505105" y="13529"/>
                  <a:pt x="522287" y="34890"/>
                </a:cubicBezTo>
                <a:cubicBezTo>
                  <a:pt x="529447" y="44147"/>
                  <a:pt x="535174" y="54827"/>
                  <a:pt x="538754" y="66220"/>
                </a:cubicBezTo>
                <a:cubicBezTo>
                  <a:pt x="538754" y="66220"/>
                  <a:pt x="538754" y="66220"/>
                  <a:pt x="588153" y="66220"/>
                </a:cubicBezTo>
                <a:cubicBezTo>
                  <a:pt x="591733" y="66220"/>
                  <a:pt x="595312" y="69068"/>
                  <a:pt x="595312" y="73340"/>
                </a:cubicBezTo>
                <a:cubicBezTo>
                  <a:pt x="595312" y="73340"/>
                  <a:pt x="595312" y="73340"/>
                  <a:pt x="595312" y="113927"/>
                </a:cubicBezTo>
                <a:cubicBezTo>
                  <a:pt x="595312" y="113927"/>
                  <a:pt x="595312" y="113927"/>
                  <a:pt x="595312" y="145256"/>
                </a:cubicBezTo>
                <a:cubicBezTo>
                  <a:pt x="595312" y="145256"/>
                  <a:pt x="595312" y="145256"/>
                  <a:pt x="595312" y="178010"/>
                </a:cubicBezTo>
                <a:cubicBezTo>
                  <a:pt x="595312" y="186555"/>
                  <a:pt x="588153" y="193675"/>
                  <a:pt x="579562" y="193675"/>
                </a:cubicBezTo>
                <a:cubicBezTo>
                  <a:pt x="579562" y="193675"/>
                  <a:pt x="579562" y="193675"/>
                  <a:pt x="318963" y="193675"/>
                </a:cubicBezTo>
                <a:cubicBezTo>
                  <a:pt x="310372" y="193675"/>
                  <a:pt x="303212" y="186555"/>
                  <a:pt x="303212" y="178010"/>
                </a:cubicBezTo>
                <a:cubicBezTo>
                  <a:pt x="303212" y="178010"/>
                  <a:pt x="303212" y="178010"/>
                  <a:pt x="303212" y="145256"/>
                </a:cubicBezTo>
                <a:cubicBezTo>
                  <a:pt x="303212" y="145256"/>
                  <a:pt x="303212" y="145256"/>
                  <a:pt x="303212" y="113927"/>
                </a:cubicBezTo>
                <a:cubicBezTo>
                  <a:pt x="303212" y="113927"/>
                  <a:pt x="303212" y="113927"/>
                  <a:pt x="303212" y="73340"/>
                </a:cubicBezTo>
                <a:cubicBezTo>
                  <a:pt x="303212" y="69068"/>
                  <a:pt x="306792" y="66220"/>
                  <a:pt x="310372" y="66220"/>
                </a:cubicBezTo>
                <a:cubicBezTo>
                  <a:pt x="310372" y="66220"/>
                  <a:pt x="310372" y="66220"/>
                  <a:pt x="359771" y="66220"/>
                </a:cubicBezTo>
                <a:cubicBezTo>
                  <a:pt x="363350" y="54827"/>
                  <a:pt x="369078" y="44147"/>
                  <a:pt x="376237" y="34890"/>
                </a:cubicBezTo>
                <a:cubicBezTo>
                  <a:pt x="393420" y="13529"/>
                  <a:pt x="419909" y="0"/>
                  <a:pt x="449262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2383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" name="Object 22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90" name="think-cell Slide" r:id="rId6" imgW="536" imgH="535" progId="TCLayout.ActiveDocument.1">
                  <p:embed/>
                </p:oleObj>
              </mc:Choice>
              <mc:Fallback>
                <p:oleObj name="think-cell Slide" r:id="rId6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/>
          <a:lstStyle/>
          <a:p>
            <a:r>
              <a:rPr lang="en-US" dirty="0"/>
              <a:t>Efficiencies in process allow for ~25-40% reduction in sourcing time for all purchase requirements</a:t>
            </a:r>
          </a:p>
        </p:txBody>
      </p:sp>
      <p:sp>
        <p:nvSpPr>
          <p:cNvPr id="40" name="ee4pFootnotes"/>
          <p:cNvSpPr>
            <a:spLocks noChangeArrowheads="1"/>
          </p:cNvSpPr>
          <p:nvPr/>
        </p:nvSpPr>
        <p:spPr bwMode="auto">
          <a:xfrm>
            <a:off x="630000" y="6282941"/>
            <a:ext cx="9030914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1. Time without partner approval requirement; with partner approval it requires 28 days for strategy approval and 30 days for award approval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ource: 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SCM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 </a:t>
            </a:r>
            <a:r>
              <a:rPr lang="en-US" sz="1000" dirty="0" err="1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Frontera</a:t>
            </a:r>
            <a:r>
              <a:rPr lang="en-US" sz="1000" dirty="0">
                <a:solidFill>
                  <a:srgbClr val="7F7F7F"/>
                </a:solidFill>
                <a:latin typeface="Trebuchet MS" panose="020B0603020202020204" pitchFamily="34" charset="0"/>
                <a:cs typeface="Arial" pitchFamily="34" charset="0"/>
                <a:sym typeface="Trebuchet MS" panose="020B0603020202020204" pitchFamily="34" charset="0"/>
              </a:rPr>
              <a:t>; team analysis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3121613" y="1812815"/>
            <a:ext cx="5950123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8468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rgbClr val="B61872"/>
                </a:solidFill>
                <a:latin typeface="Trebuchet MS" panose="020B0603020202020204" pitchFamily="34" charset="0"/>
              </a:rPr>
              <a:t>Estimated time to complete sourcing process</a:t>
            </a:r>
            <a:r>
              <a:rPr lang="en-US" baseline="30000" dirty="0">
                <a:solidFill>
                  <a:srgbClr val="B61872"/>
                </a:solidFill>
                <a:latin typeface="Trebuchet MS" panose="020B0603020202020204" pitchFamily="34" charset="0"/>
              </a:rPr>
              <a:t>1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848450" y="2457370"/>
            <a:ext cx="8496449" cy="3254044"/>
            <a:chOff x="1532232" y="2457370"/>
            <a:chExt cx="8496449" cy="3254044"/>
          </a:xfrm>
        </p:grpSpPr>
        <p:sp>
          <p:nvSpPr>
            <p:cNvPr id="143" name="Rectangle 142"/>
            <p:cNvSpPr/>
            <p:nvPr/>
          </p:nvSpPr>
          <p:spPr>
            <a:xfrm>
              <a:off x="1617903" y="2457370"/>
              <a:ext cx="1508709" cy="43088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38468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Size of</a:t>
              </a:r>
              <a:br>
                <a:rPr lang="en-US" sz="1400" dirty="0">
                  <a:solidFill>
                    <a:srgbClr val="B61872"/>
                  </a:solidFill>
                  <a:latin typeface="Trebuchet MS" panose="020B0603020202020204" pitchFamily="34" charset="0"/>
                </a:rPr>
              </a:br>
              <a:r>
                <a:rPr lang="en-US" sz="14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purchase</a:t>
              </a:r>
            </a:p>
          </p:txBody>
        </p:sp>
        <p:cxnSp>
          <p:nvCxnSpPr>
            <p:cNvPr id="146" name="Straight Connector 145"/>
            <p:cNvCxnSpPr/>
            <p:nvPr/>
          </p:nvCxnSpPr>
          <p:spPr>
            <a:xfrm>
              <a:off x="3110514" y="4979894"/>
              <a:ext cx="0" cy="731520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miter lim="800000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>
              <a:off x="3110514" y="3030772"/>
              <a:ext cx="0" cy="731520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miter lim="800000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/>
          </p:nvCxnSpPr>
          <p:spPr>
            <a:xfrm>
              <a:off x="3110514" y="4005333"/>
              <a:ext cx="0" cy="731520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miter lim="800000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tangle 47"/>
            <p:cNvSpPr/>
            <p:nvPr/>
          </p:nvSpPr>
          <p:spPr>
            <a:xfrm>
              <a:off x="1532232" y="3030772"/>
              <a:ext cx="1508709" cy="1846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38468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2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&gt; USD 200.000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532232" y="4005333"/>
              <a:ext cx="1508709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38468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2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USD 20.000-</a:t>
              </a:r>
              <a:br>
                <a:rPr lang="en-US" sz="1200" dirty="0">
                  <a:solidFill>
                    <a:srgbClr val="B61872"/>
                  </a:solidFill>
                  <a:latin typeface="Trebuchet MS" panose="020B0603020202020204" pitchFamily="34" charset="0"/>
                </a:rPr>
              </a:br>
              <a:r>
                <a:rPr lang="en-US" sz="12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200.000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1532232" y="4979894"/>
              <a:ext cx="1508709" cy="1846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38468F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200" dirty="0">
                  <a:solidFill>
                    <a:srgbClr val="B61872"/>
                  </a:solidFill>
                  <a:latin typeface="Trebuchet MS" panose="020B0603020202020204" pitchFamily="34" charset="0"/>
                </a:rPr>
                <a:t>&lt; USD 20.000</a:t>
              </a: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3195687" y="2457370"/>
              <a:ext cx="6832994" cy="3096033"/>
              <a:chOff x="2243016" y="2711894"/>
              <a:chExt cx="4637112" cy="3096033"/>
            </a:xfrm>
          </p:grpSpPr>
          <p:sp>
            <p:nvSpPr>
              <p:cNvPr id="41" name="Rectangle 40"/>
              <p:cNvSpPr/>
              <p:nvPr/>
            </p:nvSpPr>
            <p:spPr>
              <a:xfrm>
                <a:off x="2398962" y="5392429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39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5625632" y="5392429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-39%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2398962" y="3443307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124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4012297" y="3443307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78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2398962" y="4417868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71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5625632" y="4417868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-25%</a:t>
                </a: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5625632" y="3443307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-37%</a:t>
                </a:r>
                <a:endParaRPr lang="en-US" sz="1050" dirty="0">
                  <a:solidFill>
                    <a:srgbClr val="38468F"/>
                  </a:solidFill>
                </a:endParaRP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4012297" y="4417868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53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4012297" y="5392429"/>
                <a:ext cx="1098550" cy="415498"/>
              </a:xfrm>
              <a:prstGeom prst="rect">
                <a:avLst/>
              </a:prstGeom>
              <a:noFill/>
              <a:ln w="9525" cap="rnd" cmpd="sng" algn="ctr">
                <a:noFill/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B6187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ysDot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>
                    <a:solidFill>
                      <a:srgbClr val="38468F"/>
                    </a:solidFill>
                  </a:rPr>
                  <a:t>24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2243016" y="2711894"/>
                <a:ext cx="1410442" cy="430887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38468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B6187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rgbClr val="B61872"/>
                    </a:solidFill>
                    <a:latin typeface="Trebuchet MS" panose="020B0603020202020204" pitchFamily="34" charset="0"/>
                  </a:rPr>
                  <a:t>With current sourcing process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3856351" y="2711894"/>
                <a:ext cx="1410442" cy="430887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38468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B6187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rgbClr val="B61872"/>
                    </a:solidFill>
                    <a:latin typeface="Trebuchet MS" panose="020B0603020202020204" pitchFamily="34" charset="0"/>
                  </a:rPr>
                  <a:t>With new</a:t>
                </a:r>
                <a:br>
                  <a:rPr lang="en-US" sz="1400" dirty="0">
                    <a:solidFill>
                      <a:srgbClr val="B61872"/>
                    </a:solidFill>
                    <a:latin typeface="Trebuchet MS" panose="020B0603020202020204" pitchFamily="34" charset="0"/>
                  </a:rPr>
                </a:br>
                <a:r>
                  <a:rPr lang="en-US" sz="1400" dirty="0">
                    <a:solidFill>
                      <a:srgbClr val="B61872"/>
                    </a:solidFill>
                    <a:latin typeface="Trebuchet MS" panose="020B0603020202020204" pitchFamily="34" charset="0"/>
                  </a:rPr>
                  <a:t>sourcing process</a:t>
                </a: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5469686" y="2711894"/>
                <a:ext cx="1410442" cy="430887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38468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B6187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b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rgbClr val="B61872"/>
                    </a:solidFill>
                    <a:latin typeface="Trebuchet MS" panose="020B0603020202020204" pitchFamily="34" charset="0"/>
                  </a:rPr>
                  <a:t>Time optimization </a:t>
                </a:r>
              </a:p>
            </p:txBody>
          </p:sp>
        </p:grpSp>
      </p:grpSp>
      <p:sp>
        <p:nvSpPr>
          <p:cNvPr id="27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8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9" name="NavigationIcon"/>
          <p:cNvSpPr>
            <a:spLocks noChangeAspect="1"/>
          </p:cNvSpPr>
          <p:nvPr/>
        </p:nvSpPr>
        <p:spPr bwMode="auto">
          <a:xfrm>
            <a:off x="11737636" y="132877"/>
            <a:ext cx="271576" cy="365760"/>
          </a:xfrm>
          <a:custGeom>
            <a:avLst/>
            <a:gdLst>
              <a:gd name="connsiteX0" fmla="*/ 926427 w 999551"/>
              <a:gd name="connsiteY0" fmla="*/ 1074664 h 1346201"/>
              <a:gd name="connsiteX1" fmla="*/ 915066 w 999551"/>
              <a:gd name="connsiteY1" fmla="*/ 1078848 h 1346201"/>
              <a:gd name="connsiteX2" fmla="*/ 898607 w 999551"/>
              <a:gd name="connsiteY2" fmla="*/ 1094518 h 1346201"/>
              <a:gd name="connsiteX3" fmla="*/ 867121 w 999551"/>
              <a:gd name="connsiteY3" fmla="*/ 1124433 h 1346201"/>
              <a:gd name="connsiteX4" fmla="*/ 764073 w 999551"/>
              <a:gd name="connsiteY4" fmla="*/ 1223437 h 1346201"/>
              <a:gd name="connsiteX5" fmla="*/ 695375 w 999551"/>
              <a:gd name="connsiteY5" fmla="*/ 1155060 h 1346201"/>
              <a:gd name="connsiteX6" fmla="*/ 673191 w 999551"/>
              <a:gd name="connsiteY6" fmla="*/ 1155060 h 1346201"/>
              <a:gd name="connsiteX7" fmla="*/ 673191 w 999551"/>
              <a:gd name="connsiteY7" fmla="*/ 1177140 h 1346201"/>
              <a:gd name="connsiteX8" fmla="*/ 752623 w 999551"/>
              <a:gd name="connsiteY8" fmla="*/ 1256202 h 1346201"/>
              <a:gd name="connsiteX9" fmla="*/ 763357 w 999551"/>
              <a:gd name="connsiteY9" fmla="*/ 1260475 h 1346201"/>
              <a:gd name="connsiteX10" fmla="*/ 774092 w 999551"/>
              <a:gd name="connsiteY10" fmla="*/ 1256202 h 1346201"/>
              <a:gd name="connsiteX11" fmla="*/ 867121 w 999551"/>
              <a:gd name="connsiteY11" fmla="*/ 1167881 h 1346201"/>
              <a:gd name="connsiteX12" fmla="*/ 898607 w 999551"/>
              <a:gd name="connsiteY12" fmla="*/ 1137966 h 1346201"/>
              <a:gd name="connsiteX13" fmla="*/ 936535 w 999551"/>
              <a:gd name="connsiteY13" fmla="*/ 1101641 h 1346201"/>
              <a:gd name="connsiteX14" fmla="*/ 937250 w 999551"/>
              <a:gd name="connsiteY14" fmla="*/ 1079560 h 1346201"/>
              <a:gd name="connsiteX15" fmla="*/ 926427 w 999551"/>
              <a:gd name="connsiteY15" fmla="*/ 1074664 h 1346201"/>
              <a:gd name="connsiteX16" fmla="*/ 152230 w 999551"/>
              <a:gd name="connsiteY16" fmla="*/ 1057275 h 1346201"/>
              <a:gd name="connsiteX17" fmla="*/ 604838 w 999551"/>
              <a:gd name="connsiteY17" fmla="*/ 1057275 h 1346201"/>
              <a:gd name="connsiteX18" fmla="*/ 592702 w 999551"/>
              <a:gd name="connsiteY18" fmla="*/ 1089025 h 1346201"/>
              <a:gd name="connsiteX19" fmla="*/ 152230 w 999551"/>
              <a:gd name="connsiteY19" fmla="*/ 1089025 h 1346201"/>
              <a:gd name="connsiteX20" fmla="*/ 136525 w 999551"/>
              <a:gd name="connsiteY20" fmla="*/ 1073150 h 1346201"/>
              <a:gd name="connsiteX21" fmla="*/ 152230 w 999551"/>
              <a:gd name="connsiteY21" fmla="*/ 1057275 h 1346201"/>
              <a:gd name="connsiteX22" fmla="*/ 806847 w 999551"/>
              <a:gd name="connsiteY22" fmla="*/ 960438 h 1346201"/>
              <a:gd name="connsiteX23" fmla="*/ 867569 w 999551"/>
              <a:gd name="connsiteY23" fmla="*/ 970439 h 1346201"/>
              <a:gd name="connsiteX24" fmla="*/ 899002 w 999551"/>
              <a:gd name="connsiteY24" fmla="*/ 984013 h 1346201"/>
              <a:gd name="connsiteX25" fmla="*/ 945436 w 999551"/>
              <a:gd name="connsiteY25" fmla="*/ 1019731 h 1346201"/>
              <a:gd name="connsiteX26" fmla="*/ 956866 w 999551"/>
              <a:gd name="connsiteY26" fmla="*/ 1274764 h 1346201"/>
              <a:gd name="connsiteX27" fmla="*/ 940436 w 999551"/>
              <a:gd name="connsiteY27" fmla="*/ 1292623 h 1346201"/>
              <a:gd name="connsiteX28" fmla="*/ 924719 w 999551"/>
              <a:gd name="connsiteY28" fmla="*/ 1306196 h 1346201"/>
              <a:gd name="connsiteX29" fmla="*/ 924005 w 999551"/>
              <a:gd name="connsiteY29" fmla="*/ 1306196 h 1346201"/>
              <a:gd name="connsiteX30" fmla="*/ 806847 w 999551"/>
              <a:gd name="connsiteY30" fmla="*/ 1346201 h 1346201"/>
              <a:gd name="connsiteX31" fmla="*/ 688975 w 999551"/>
              <a:gd name="connsiteY31" fmla="*/ 1306196 h 1346201"/>
              <a:gd name="connsiteX32" fmla="*/ 667544 w 999551"/>
              <a:gd name="connsiteY32" fmla="*/ 1287622 h 1346201"/>
              <a:gd name="connsiteX33" fmla="*/ 656828 w 999551"/>
              <a:gd name="connsiteY33" fmla="*/ 1274764 h 1346201"/>
              <a:gd name="connsiteX34" fmla="*/ 625396 w 999551"/>
              <a:gd name="connsiteY34" fmla="*/ 1088311 h 1346201"/>
              <a:gd name="connsiteX35" fmla="*/ 639683 w 999551"/>
              <a:gd name="connsiteY35" fmla="*/ 1056879 h 1346201"/>
              <a:gd name="connsiteX36" fmla="*/ 673259 w 999551"/>
              <a:gd name="connsiteY36" fmla="*/ 1014731 h 1346201"/>
              <a:gd name="connsiteX37" fmla="*/ 740410 w 999551"/>
              <a:gd name="connsiteY37" fmla="*/ 972583 h 1346201"/>
              <a:gd name="connsiteX38" fmla="*/ 760413 w 999551"/>
              <a:gd name="connsiteY38" fmla="*/ 966153 h 1346201"/>
              <a:gd name="connsiteX39" fmla="*/ 806847 w 999551"/>
              <a:gd name="connsiteY39" fmla="*/ 960438 h 1346201"/>
              <a:gd name="connsiteX40" fmla="*/ 152218 w 999551"/>
              <a:gd name="connsiteY40" fmla="*/ 941388 h 1346201"/>
              <a:gd name="connsiteX41" fmla="*/ 735013 w 999551"/>
              <a:gd name="connsiteY41" fmla="*/ 941388 h 1346201"/>
              <a:gd name="connsiteX42" fmla="*/ 674380 w 999551"/>
              <a:gd name="connsiteY42" fmla="*/ 973138 h 1346201"/>
              <a:gd name="connsiteX43" fmla="*/ 152218 w 999551"/>
              <a:gd name="connsiteY43" fmla="*/ 973138 h 1346201"/>
              <a:gd name="connsiteX44" fmla="*/ 136525 w 999551"/>
              <a:gd name="connsiteY44" fmla="*/ 957263 h 1346201"/>
              <a:gd name="connsiteX45" fmla="*/ 152218 w 999551"/>
              <a:gd name="connsiteY45" fmla="*/ 941388 h 1346201"/>
              <a:gd name="connsiteX46" fmla="*/ 152237 w 999551"/>
              <a:gd name="connsiteY46" fmla="*/ 825500 h 1346201"/>
              <a:gd name="connsiteX47" fmla="*/ 747876 w 999551"/>
              <a:gd name="connsiteY47" fmla="*/ 825500 h 1346201"/>
              <a:gd name="connsiteX48" fmla="*/ 763588 w 999551"/>
              <a:gd name="connsiteY48" fmla="*/ 841375 h 1346201"/>
              <a:gd name="connsiteX49" fmla="*/ 747876 w 999551"/>
              <a:gd name="connsiteY49" fmla="*/ 857250 h 1346201"/>
              <a:gd name="connsiteX50" fmla="*/ 152237 w 999551"/>
              <a:gd name="connsiteY50" fmla="*/ 857250 h 1346201"/>
              <a:gd name="connsiteX51" fmla="*/ 136525 w 999551"/>
              <a:gd name="connsiteY51" fmla="*/ 841375 h 1346201"/>
              <a:gd name="connsiteX52" fmla="*/ 152237 w 999551"/>
              <a:gd name="connsiteY52" fmla="*/ 825500 h 1346201"/>
              <a:gd name="connsiteX53" fmla="*/ 152237 w 999551"/>
              <a:gd name="connsiteY53" fmla="*/ 709613 h 1346201"/>
              <a:gd name="connsiteX54" fmla="*/ 747876 w 999551"/>
              <a:gd name="connsiteY54" fmla="*/ 709613 h 1346201"/>
              <a:gd name="connsiteX55" fmla="*/ 763588 w 999551"/>
              <a:gd name="connsiteY55" fmla="*/ 725488 h 1346201"/>
              <a:gd name="connsiteX56" fmla="*/ 747876 w 999551"/>
              <a:gd name="connsiteY56" fmla="*/ 741363 h 1346201"/>
              <a:gd name="connsiteX57" fmla="*/ 152237 w 999551"/>
              <a:gd name="connsiteY57" fmla="*/ 741363 h 1346201"/>
              <a:gd name="connsiteX58" fmla="*/ 136525 w 999551"/>
              <a:gd name="connsiteY58" fmla="*/ 725488 h 1346201"/>
              <a:gd name="connsiteX59" fmla="*/ 152237 w 999551"/>
              <a:gd name="connsiteY59" fmla="*/ 709613 h 1346201"/>
              <a:gd name="connsiteX60" fmla="*/ 152237 w 999551"/>
              <a:gd name="connsiteY60" fmla="*/ 593725 h 1346201"/>
              <a:gd name="connsiteX61" fmla="*/ 747876 w 999551"/>
              <a:gd name="connsiteY61" fmla="*/ 593725 h 1346201"/>
              <a:gd name="connsiteX62" fmla="*/ 763588 w 999551"/>
              <a:gd name="connsiteY62" fmla="*/ 609600 h 1346201"/>
              <a:gd name="connsiteX63" fmla="*/ 747876 w 999551"/>
              <a:gd name="connsiteY63" fmla="*/ 625475 h 1346201"/>
              <a:gd name="connsiteX64" fmla="*/ 152237 w 999551"/>
              <a:gd name="connsiteY64" fmla="*/ 625475 h 1346201"/>
              <a:gd name="connsiteX65" fmla="*/ 136525 w 999551"/>
              <a:gd name="connsiteY65" fmla="*/ 609600 h 1346201"/>
              <a:gd name="connsiteX66" fmla="*/ 152237 w 999551"/>
              <a:gd name="connsiteY66" fmla="*/ 593725 h 1346201"/>
              <a:gd name="connsiteX67" fmla="*/ 152237 w 999551"/>
              <a:gd name="connsiteY67" fmla="*/ 477838 h 1346201"/>
              <a:gd name="connsiteX68" fmla="*/ 747876 w 999551"/>
              <a:gd name="connsiteY68" fmla="*/ 477838 h 1346201"/>
              <a:gd name="connsiteX69" fmla="*/ 763588 w 999551"/>
              <a:gd name="connsiteY69" fmla="*/ 493713 h 1346201"/>
              <a:gd name="connsiteX70" fmla="*/ 747876 w 999551"/>
              <a:gd name="connsiteY70" fmla="*/ 509588 h 1346201"/>
              <a:gd name="connsiteX71" fmla="*/ 152237 w 999551"/>
              <a:gd name="connsiteY71" fmla="*/ 509588 h 1346201"/>
              <a:gd name="connsiteX72" fmla="*/ 136525 w 999551"/>
              <a:gd name="connsiteY72" fmla="*/ 493713 h 1346201"/>
              <a:gd name="connsiteX73" fmla="*/ 152237 w 999551"/>
              <a:gd name="connsiteY73" fmla="*/ 477838 h 1346201"/>
              <a:gd name="connsiteX74" fmla="*/ 152237 w 999551"/>
              <a:gd name="connsiteY74" fmla="*/ 361950 h 1346201"/>
              <a:gd name="connsiteX75" fmla="*/ 747876 w 999551"/>
              <a:gd name="connsiteY75" fmla="*/ 361950 h 1346201"/>
              <a:gd name="connsiteX76" fmla="*/ 763588 w 999551"/>
              <a:gd name="connsiteY76" fmla="*/ 377825 h 1346201"/>
              <a:gd name="connsiteX77" fmla="*/ 747876 w 999551"/>
              <a:gd name="connsiteY77" fmla="*/ 393700 h 1346201"/>
              <a:gd name="connsiteX78" fmla="*/ 152237 w 999551"/>
              <a:gd name="connsiteY78" fmla="*/ 393700 h 1346201"/>
              <a:gd name="connsiteX79" fmla="*/ 136525 w 999551"/>
              <a:gd name="connsiteY79" fmla="*/ 377825 h 1346201"/>
              <a:gd name="connsiteX80" fmla="*/ 152237 w 999551"/>
              <a:gd name="connsiteY80" fmla="*/ 361950 h 1346201"/>
              <a:gd name="connsiteX81" fmla="*/ 625475 w 999551"/>
              <a:gd name="connsiteY81" fmla="*/ 114300 h 1346201"/>
              <a:gd name="connsiteX82" fmla="*/ 882800 w 999551"/>
              <a:gd name="connsiteY82" fmla="*/ 114300 h 1346201"/>
              <a:gd name="connsiteX83" fmla="*/ 898525 w 999551"/>
              <a:gd name="connsiteY83" fmla="*/ 130001 h 1346201"/>
              <a:gd name="connsiteX84" fmla="*/ 898525 w 999551"/>
              <a:gd name="connsiteY84" fmla="*/ 949325 h 1346201"/>
              <a:gd name="connsiteX85" fmla="*/ 867074 w 999551"/>
              <a:gd name="connsiteY85" fmla="*/ 937906 h 1346201"/>
              <a:gd name="connsiteX86" fmla="*/ 867074 w 999551"/>
              <a:gd name="connsiteY86" fmla="*/ 145703 h 1346201"/>
              <a:gd name="connsiteX87" fmla="*/ 625475 w 999551"/>
              <a:gd name="connsiteY87" fmla="*/ 145703 h 1346201"/>
              <a:gd name="connsiteX88" fmla="*/ 625475 w 999551"/>
              <a:gd name="connsiteY88" fmla="*/ 114300 h 1346201"/>
              <a:gd name="connsiteX89" fmla="*/ 15734 w 999551"/>
              <a:gd name="connsiteY89" fmla="*/ 114300 h 1346201"/>
              <a:gd name="connsiteX90" fmla="*/ 273195 w 999551"/>
              <a:gd name="connsiteY90" fmla="*/ 114300 h 1346201"/>
              <a:gd name="connsiteX91" fmla="*/ 273195 w 999551"/>
              <a:gd name="connsiteY91" fmla="*/ 145712 h 1346201"/>
              <a:gd name="connsiteX92" fmla="*/ 31468 w 999551"/>
              <a:gd name="connsiteY92" fmla="*/ 145712 h 1346201"/>
              <a:gd name="connsiteX93" fmla="*/ 31468 w 999551"/>
              <a:gd name="connsiteY93" fmla="*/ 1275102 h 1346201"/>
              <a:gd name="connsiteX94" fmla="*/ 618622 w 999551"/>
              <a:gd name="connsiteY94" fmla="*/ 1275102 h 1346201"/>
              <a:gd name="connsiteX95" fmla="*/ 642938 w 999551"/>
              <a:gd name="connsiteY95" fmla="*/ 1306513 h 1346201"/>
              <a:gd name="connsiteX96" fmla="*/ 15734 w 999551"/>
              <a:gd name="connsiteY96" fmla="*/ 1306513 h 1346201"/>
              <a:gd name="connsiteX97" fmla="*/ 0 w 999551"/>
              <a:gd name="connsiteY97" fmla="*/ 1290807 h 1346201"/>
              <a:gd name="connsiteX98" fmla="*/ 0 w 999551"/>
              <a:gd name="connsiteY98" fmla="*/ 130006 h 1346201"/>
              <a:gd name="connsiteX99" fmla="*/ 15734 w 999551"/>
              <a:gd name="connsiteY99" fmla="*/ 114300 h 1346201"/>
              <a:gd name="connsiteX100" fmla="*/ 449263 w 999551"/>
              <a:gd name="connsiteY100" fmla="*/ 31750 h 1346201"/>
              <a:gd name="connsiteX101" fmla="*/ 427180 w 999551"/>
              <a:gd name="connsiteY101" fmla="*/ 35314 h 1346201"/>
              <a:gd name="connsiteX102" fmla="*/ 393700 w 999551"/>
              <a:gd name="connsiteY102" fmla="*/ 66675 h 1346201"/>
              <a:gd name="connsiteX103" fmla="*/ 504825 w 999551"/>
              <a:gd name="connsiteY103" fmla="*/ 66675 h 1346201"/>
              <a:gd name="connsiteX104" fmla="*/ 471345 w 999551"/>
              <a:gd name="connsiteY104" fmla="*/ 35314 h 1346201"/>
              <a:gd name="connsiteX105" fmla="*/ 449263 w 999551"/>
              <a:gd name="connsiteY105" fmla="*/ 31750 h 1346201"/>
              <a:gd name="connsiteX106" fmla="*/ 449262 w 999551"/>
              <a:gd name="connsiteY106" fmla="*/ 0 h 1346201"/>
              <a:gd name="connsiteX107" fmla="*/ 522287 w 999551"/>
              <a:gd name="connsiteY107" fmla="*/ 34890 h 1346201"/>
              <a:gd name="connsiteX108" fmla="*/ 538754 w 999551"/>
              <a:gd name="connsiteY108" fmla="*/ 66220 h 1346201"/>
              <a:gd name="connsiteX109" fmla="*/ 588153 w 999551"/>
              <a:gd name="connsiteY109" fmla="*/ 66220 h 1346201"/>
              <a:gd name="connsiteX110" fmla="*/ 595312 w 999551"/>
              <a:gd name="connsiteY110" fmla="*/ 73340 h 1346201"/>
              <a:gd name="connsiteX111" fmla="*/ 595312 w 999551"/>
              <a:gd name="connsiteY111" fmla="*/ 113927 h 1346201"/>
              <a:gd name="connsiteX112" fmla="*/ 595312 w 999551"/>
              <a:gd name="connsiteY112" fmla="*/ 145256 h 1346201"/>
              <a:gd name="connsiteX113" fmla="*/ 595312 w 999551"/>
              <a:gd name="connsiteY113" fmla="*/ 178010 h 1346201"/>
              <a:gd name="connsiteX114" fmla="*/ 579562 w 999551"/>
              <a:gd name="connsiteY114" fmla="*/ 193675 h 1346201"/>
              <a:gd name="connsiteX115" fmla="*/ 318963 w 999551"/>
              <a:gd name="connsiteY115" fmla="*/ 193675 h 1346201"/>
              <a:gd name="connsiteX116" fmla="*/ 303212 w 999551"/>
              <a:gd name="connsiteY116" fmla="*/ 178010 h 1346201"/>
              <a:gd name="connsiteX117" fmla="*/ 303212 w 999551"/>
              <a:gd name="connsiteY117" fmla="*/ 145256 h 1346201"/>
              <a:gd name="connsiteX118" fmla="*/ 303212 w 999551"/>
              <a:gd name="connsiteY118" fmla="*/ 113927 h 1346201"/>
              <a:gd name="connsiteX119" fmla="*/ 303212 w 999551"/>
              <a:gd name="connsiteY119" fmla="*/ 73340 h 1346201"/>
              <a:gd name="connsiteX120" fmla="*/ 310372 w 999551"/>
              <a:gd name="connsiteY120" fmla="*/ 66220 h 1346201"/>
              <a:gd name="connsiteX121" fmla="*/ 359771 w 999551"/>
              <a:gd name="connsiteY121" fmla="*/ 66220 h 1346201"/>
              <a:gd name="connsiteX122" fmla="*/ 376237 w 999551"/>
              <a:gd name="connsiteY122" fmla="*/ 34890 h 1346201"/>
              <a:gd name="connsiteX123" fmla="*/ 449262 w 999551"/>
              <a:gd name="connsiteY123" fmla="*/ 0 h 134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999551" h="1346201">
                <a:moveTo>
                  <a:pt x="926427" y="1074664"/>
                </a:moveTo>
                <a:cubicBezTo>
                  <a:pt x="922401" y="1074575"/>
                  <a:pt x="918286" y="1075999"/>
                  <a:pt x="915066" y="1078848"/>
                </a:cubicBezTo>
                <a:cubicBezTo>
                  <a:pt x="915066" y="1078848"/>
                  <a:pt x="915066" y="1078848"/>
                  <a:pt x="898607" y="1094518"/>
                </a:cubicBezTo>
                <a:cubicBezTo>
                  <a:pt x="898607" y="1094518"/>
                  <a:pt x="898607" y="1094518"/>
                  <a:pt x="867121" y="1124433"/>
                </a:cubicBezTo>
                <a:cubicBezTo>
                  <a:pt x="867121" y="1124433"/>
                  <a:pt x="867121" y="1124433"/>
                  <a:pt x="764073" y="1223437"/>
                </a:cubicBezTo>
                <a:cubicBezTo>
                  <a:pt x="764073" y="1223437"/>
                  <a:pt x="764073" y="1223437"/>
                  <a:pt x="695375" y="1155060"/>
                </a:cubicBezTo>
                <a:cubicBezTo>
                  <a:pt x="688934" y="1148650"/>
                  <a:pt x="678916" y="1148650"/>
                  <a:pt x="673191" y="1155060"/>
                </a:cubicBezTo>
                <a:cubicBezTo>
                  <a:pt x="666750" y="1160758"/>
                  <a:pt x="666750" y="1170730"/>
                  <a:pt x="673191" y="1177140"/>
                </a:cubicBezTo>
                <a:cubicBezTo>
                  <a:pt x="673191" y="1177140"/>
                  <a:pt x="673191" y="1177140"/>
                  <a:pt x="752623" y="1256202"/>
                </a:cubicBezTo>
                <a:cubicBezTo>
                  <a:pt x="755486" y="1259051"/>
                  <a:pt x="759779" y="1260475"/>
                  <a:pt x="763357" y="1260475"/>
                </a:cubicBezTo>
                <a:cubicBezTo>
                  <a:pt x="767651" y="1260475"/>
                  <a:pt x="771229" y="1259051"/>
                  <a:pt x="774092" y="1256202"/>
                </a:cubicBezTo>
                <a:cubicBezTo>
                  <a:pt x="774092" y="1256202"/>
                  <a:pt x="774092" y="1256202"/>
                  <a:pt x="867121" y="1167881"/>
                </a:cubicBezTo>
                <a:cubicBezTo>
                  <a:pt x="867121" y="1167881"/>
                  <a:pt x="867121" y="1167881"/>
                  <a:pt x="898607" y="1137966"/>
                </a:cubicBezTo>
                <a:cubicBezTo>
                  <a:pt x="898607" y="1137966"/>
                  <a:pt x="898607" y="1137966"/>
                  <a:pt x="936535" y="1101641"/>
                </a:cubicBezTo>
                <a:cubicBezTo>
                  <a:pt x="942975" y="1095943"/>
                  <a:pt x="942975" y="1085971"/>
                  <a:pt x="937250" y="1079560"/>
                </a:cubicBezTo>
                <a:cubicBezTo>
                  <a:pt x="934388" y="1076355"/>
                  <a:pt x="930452" y="1074753"/>
                  <a:pt x="926427" y="1074664"/>
                </a:cubicBezTo>
                <a:close/>
                <a:moveTo>
                  <a:pt x="152230" y="1057275"/>
                </a:moveTo>
                <a:cubicBezTo>
                  <a:pt x="152230" y="1057275"/>
                  <a:pt x="152230" y="1057275"/>
                  <a:pt x="604838" y="1057275"/>
                </a:cubicBezTo>
                <a:cubicBezTo>
                  <a:pt x="599841" y="1067377"/>
                  <a:pt x="595557" y="1078201"/>
                  <a:pt x="592702" y="1089025"/>
                </a:cubicBezTo>
                <a:cubicBezTo>
                  <a:pt x="592702" y="1089025"/>
                  <a:pt x="592702" y="1089025"/>
                  <a:pt x="152230" y="1089025"/>
                </a:cubicBezTo>
                <a:cubicBezTo>
                  <a:pt x="142950" y="1089025"/>
                  <a:pt x="136525" y="1081809"/>
                  <a:pt x="136525" y="1073150"/>
                </a:cubicBezTo>
                <a:cubicBezTo>
                  <a:pt x="136525" y="1064491"/>
                  <a:pt x="142950" y="1057275"/>
                  <a:pt x="152230" y="1057275"/>
                </a:cubicBezTo>
                <a:close/>
                <a:moveTo>
                  <a:pt x="806847" y="960438"/>
                </a:moveTo>
                <a:cubicBezTo>
                  <a:pt x="827564" y="960438"/>
                  <a:pt x="848281" y="964010"/>
                  <a:pt x="867569" y="970439"/>
                </a:cubicBezTo>
                <a:cubicBezTo>
                  <a:pt x="878999" y="974011"/>
                  <a:pt x="889001" y="979012"/>
                  <a:pt x="899002" y="984013"/>
                </a:cubicBezTo>
                <a:cubicBezTo>
                  <a:pt x="916147" y="993299"/>
                  <a:pt x="931863" y="1005444"/>
                  <a:pt x="945436" y="1019731"/>
                </a:cubicBezTo>
                <a:cubicBezTo>
                  <a:pt x="1013302" y="1089740"/>
                  <a:pt x="1017588" y="1199754"/>
                  <a:pt x="956866" y="1274764"/>
                </a:cubicBezTo>
                <a:cubicBezTo>
                  <a:pt x="951866" y="1281193"/>
                  <a:pt x="946151" y="1286908"/>
                  <a:pt x="940436" y="1292623"/>
                </a:cubicBezTo>
                <a:cubicBezTo>
                  <a:pt x="934006" y="1298338"/>
                  <a:pt x="929720" y="1302624"/>
                  <a:pt x="924719" y="1306196"/>
                </a:cubicBezTo>
                <a:cubicBezTo>
                  <a:pt x="924719" y="1306196"/>
                  <a:pt x="924719" y="1306196"/>
                  <a:pt x="924005" y="1306196"/>
                </a:cubicBezTo>
                <a:cubicBezTo>
                  <a:pt x="891144" y="1331914"/>
                  <a:pt x="848996" y="1346201"/>
                  <a:pt x="806847" y="1346201"/>
                </a:cubicBezTo>
                <a:cubicBezTo>
                  <a:pt x="763270" y="1346201"/>
                  <a:pt x="722551" y="1332628"/>
                  <a:pt x="688975" y="1306196"/>
                </a:cubicBezTo>
                <a:cubicBezTo>
                  <a:pt x="681832" y="1300481"/>
                  <a:pt x="674688" y="1294052"/>
                  <a:pt x="667544" y="1287622"/>
                </a:cubicBezTo>
                <a:cubicBezTo>
                  <a:pt x="663972" y="1283336"/>
                  <a:pt x="660400" y="1279050"/>
                  <a:pt x="656828" y="1274764"/>
                </a:cubicBezTo>
                <a:cubicBezTo>
                  <a:pt x="613252" y="1221900"/>
                  <a:pt x="603250" y="1150462"/>
                  <a:pt x="625396" y="1088311"/>
                </a:cubicBezTo>
                <a:cubicBezTo>
                  <a:pt x="628968" y="1077596"/>
                  <a:pt x="633968" y="1066880"/>
                  <a:pt x="639683" y="1056879"/>
                </a:cubicBezTo>
                <a:cubicBezTo>
                  <a:pt x="648970" y="1041877"/>
                  <a:pt x="659686" y="1027589"/>
                  <a:pt x="673259" y="1014731"/>
                </a:cubicBezTo>
                <a:cubicBezTo>
                  <a:pt x="692547" y="995443"/>
                  <a:pt x="715407" y="981155"/>
                  <a:pt x="740410" y="972583"/>
                </a:cubicBezTo>
                <a:cubicBezTo>
                  <a:pt x="746840" y="969725"/>
                  <a:pt x="753269" y="968296"/>
                  <a:pt x="760413" y="966153"/>
                </a:cubicBezTo>
                <a:cubicBezTo>
                  <a:pt x="775415" y="962581"/>
                  <a:pt x="791131" y="960438"/>
                  <a:pt x="806847" y="960438"/>
                </a:cubicBezTo>
                <a:close/>
                <a:moveTo>
                  <a:pt x="152218" y="941388"/>
                </a:moveTo>
                <a:cubicBezTo>
                  <a:pt x="152218" y="941388"/>
                  <a:pt x="152218" y="941388"/>
                  <a:pt x="735013" y="941388"/>
                </a:cubicBezTo>
                <a:cubicBezTo>
                  <a:pt x="712900" y="948604"/>
                  <a:pt x="692926" y="959428"/>
                  <a:pt x="674380" y="973138"/>
                </a:cubicBezTo>
                <a:cubicBezTo>
                  <a:pt x="674380" y="973138"/>
                  <a:pt x="674380" y="973138"/>
                  <a:pt x="152218" y="973138"/>
                </a:cubicBezTo>
                <a:cubicBezTo>
                  <a:pt x="142945" y="973138"/>
                  <a:pt x="136525" y="965922"/>
                  <a:pt x="136525" y="957263"/>
                </a:cubicBezTo>
                <a:cubicBezTo>
                  <a:pt x="136525" y="948604"/>
                  <a:pt x="142945" y="941388"/>
                  <a:pt x="152218" y="941388"/>
                </a:cubicBezTo>
                <a:close/>
                <a:moveTo>
                  <a:pt x="152237" y="825500"/>
                </a:moveTo>
                <a:cubicBezTo>
                  <a:pt x="152237" y="825500"/>
                  <a:pt x="152237" y="825500"/>
                  <a:pt x="747876" y="825500"/>
                </a:cubicBezTo>
                <a:cubicBezTo>
                  <a:pt x="757160" y="825500"/>
                  <a:pt x="763588" y="832716"/>
                  <a:pt x="763588" y="841375"/>
                </a:cubicBezTo>
                <a:cubicBezTo>
                  <a:pt x="763588" y="850756"/>
                  <a:pt x="757160" y="857250"/>
                  <a:pt x="747876" y="857250"/>
                </a:cubicBezTo>
                <a:cubicBezTo>
                  <a:pt x="747876" y="857250"/>
                  <a:pt x="747876" y="857250"/>
                  <a:pt x="152237" y="857250"/>
                </a:cubicBezTo>
                <a:cubicBezTo>
                  <a:pt x="142953" y="857250"/>
                  <a:pt x="136525" y="850756"/>
                  <a:pt x="136525" y="841375"/>
                </a:cubicBezTo>
                <a:cubicBezTo>
                  <a:pt x="136525" y="832716"/>
                  <a:pt x="142953" y="825500"/>
                  <a:pt x="152237" y="825500"/>
                </a:cubicBezTo>
                <a:close/>
                <a:moveTo>
                  <a:pt x="152237" y="709613"/>
                </a:moveTo>
                <a:cubicBezTo>
                  <a:pt x="152237" y="709613"/>
                  <a:pt x="152237" y="709613"/>
                  <a:pt x="747876" y="709613"/>
                </a:cubicBezTo>
                <a:cubicBezTo>
                  <a:pt x="757160" y="709613"/>
                  <a:pt x="763588" y="716829"/>
                  <a:pt x="763588" y="725488"/>
                </a:cubicBezTo>
                <a:cubicBezTo>
                  <a:pt x="763588" y="734147"/>
                  <a:pt x="757160" y="741363"/>
                  <a:pt x="747876" y="741363"/>
                </a:cubicBezTo>
                <a:cubicBezTo>
                  <a:pt x="747876" y="741363"/>
                  <a:pt x="747876" y="741363"/>
                  <a:pt x="152237" y="741363"/>
                </a:cubicBezTo>
                <a:cubicBezTo>
                  <a:pt x="142953" y="741363"/>
                  <a:pt x="136525" y="734147"/>
                  <a:pt x="136525" y="725488"/>
                </a:cubicBezTo>
                <a:cubicBezTo>
                  <a:pt x="136525" y="716829"/>
                  <a:pt x="142953" y="709613"/>
                  <a:pt x="152237" y="709613"/>
                </a:cubicBezTo>
                <a:close/>
                <a:moveTo>
                  <a:pt x="152237" y="593725"/>
                </a:moveTo>
                <a:cubicBezTo>
                  <a:pt x="152237" y="593725"/>
                  <a:pt x="152237" y="593725"/>
                  <a:pt x="747876" y="593725"/>
                </a:cubicBezTo>
                <a:cubicBezTo>
                  <a:pt x="757160" y="593725"/>
                  <a:pt x="763588" y="600941"/>
                  <a:pt x="763588" y="609600"/>
                </a:cubicBezTo>
                <a:cubicBezTo>
                  <a:pt x="763588" y="618259"/>
                  <a:pt x="757160" y="625475"/>
                  <a:pt x="747876" y="625475"/>
                </a:cubicBezTo>
                <a:cubicBezTo>
                  <a:pt x="747876" y="625475"/>
                  <a:pt x="747876" y="625475"/>
                  <a:pt x="152237" y="625475"/>
                </a:cubicBezTo>
                <a:cubicBezTo>
                  <a:pt x="142953" y="625475"/>
                  <a:pt x="136525" y="618259"/>
                  <a:pt x="136525" y="609600"/>
                </a:cubicBezTo>
                <a:cubicBezTo>
                  <a:pt x="136525" y="600941"/>
                  <a:pt x="142953" y="593725"/>
                  <a:pt x="152237" y="593725"/>
                </a:cubicBezTo>
                <a:close/>
                <a:moveTo>
                  <a:pt x="152237" y="477838"/>
                </a:moveTo>
                <a:cubicBezTo>
                  <a:pt x="152237" y="477838"/>
                  <a:pt x="152237" y="477838"/>
                  <a:pt x="747876" y="477838"/>
                </a:cubicBezTo>
                <a:cubicBezTo>
                  <a:pt x="757160" y="477838"/>
                  <a:pt x="763588" y="484332"/>
                  <a:pt x="763588" y="493713"/>
                </a:cubicBezTo>
                <a:cubicBezTo>
                  <a:pt x="763588" y="502372"/>
                  <a:pt x="757160" y="509588"/>
                  <a:pt x="747876" y="509588"/>
                </a:cubicBezTo>
                <a:cubicBezTo>
                  <a:pt x="747876" y="509588"/>
                  <a:pt x="747876" y="509588"/>
                  <a:pt x="152237" y="509588"/>
                </a:cubicBezTo>
                <a:cubicBezTo>
                  <a:pt x="142953" y="509588"/>
                  <a:pt x="136525" y="502372"/>
                  <a:pt x="136525" y="493713"/>
                </a:cubicBezTo>
                <a:cubicBezTo>
                  <a:pt x="136525" y="484332"/>
                  <a:pt x="142953" y="477838"/>
                  <a:pt x="152237" y="477838"/>
                </a:cubicBezTo>
                <a:close/>
                <a:moveTo>
                  <a:pt x="152237" y="361950"/>
                </a:moveTo>
                <a:cubicBezTo>
                  <a:pt x="152237" y="361950"/>
                  <a:pt x="152237" y="361950"/>
                  <a:pt x="747876" y="361950"/>
                </a:cubicBezTo>
                <a:cubicBezTo>
                  <a:pt x="757160" y="361950"/>
                  <a:pt x="763588" y="369166"/>
                  <a:pt x="763588" y="377825"/>
                </a:cubicBezTo>
                <a:cubicBezTo>
                  <a:pt x="763588" y="386484"/>
                  <a:pt x="757160" y="393700"/>
                  <a:pt x="747876" y="393700"/>
                </a:cubicBezTo>
                <a:cubicBezTo>
                  <a:pt x="747876" y="393700"/>
                  <a:pt x="747876" y="393700"/>
                  <a:pt x="152237" y="393700"/>
                </a:cubicBezTo>
                <a:cubicBezTo>
                  <a:pt x="142953" y="393700"/>
                  <a:pt x="136525" y="386484"/>
                  <a:pt x="136525" y="377825"/>
                </a:cubicBezTo>
                <a:cubicBezTo>
                  <a:pt x="136525" y="369166"/>
                  <a:pt x="142953" y="361950"/>
                  <a:pt x="152237" y="361950"/>
                </a:cubicBezTo>
                <a:close/>
                <a:moveTo>
                  <a:pt x="625475" y="114300"/>
                </a:moveTo>
                <a:cubicBezTo>
                  <a:pt x="625475" y="114300"/>
                  <a:pt x="625475" y="114300"/>
                  <a:pt x="882800" y="114300"/>
                </a:cubicBezTo>
                <a:cubicBezTo>
                  <a:pt x="892092" y="114300"/>
                  <a:pt x="898525" y="121437"/>
                  <a:pt x="898525" y="130001"/>
                </a:cubicBezTo>
                <a:cubicBezTo>
                  <a:pt x="898525" y="130001"/>
                  <a:pt x="898525" y="130001"/>
                  <a:pt x="898525" y="949325"/>
                </a:cubicBezTo>
                <a:cubicBezTo>
                  <a:pt x="888518" y="945043"/>
                  <a:pt x="878511" y="940761"/>
                  <a:pt x="867074" y="937906"/>
                </a:cubicBezTo>
                <a:cubicBezTo>
                  <a:pt x="867074" y="937906"/>
                  <a:pt x="867074" y="937906"/>
                  <a:pt x="867074" y="145703"/>
                </a:cubicBezTo>
                <a:cubicBezTo>
                  <a:pt x="867074" y="145703"/>
                  <a:pt x="867074" y="145703"/>
                  <a:pt x="625475" y="145703"/>
                </a:cubicBezTo>
                <a:cubicBezTo>
                  <a:pt x="625475" y="145703"/>
                  <a:pt x="625475" y="145703"/>
                  <a:pt x="625475" y="114300"/>
                </a:cubicBezTo>
                <a:close/>
                <a:moveTo>
                  <a:pt x="15734" y="114300"/>
                </a:moveTo>
                <a:cubicBezTo>
                  <a:pt x="15734" y="114300"/>
                  <a:pt x="15734" y="114300"/>
                  <a:pt x="273195" y="114300"/>
                </a:cubicBezTo>
                <a:cubicBezTo>
                  <a:pt x="273195" y="114300"/>
                  <a:pt x="273195" y="114300"/>
                  <a:pt x="273195" y="145712"/>
                </a:cubicBezTo>
                <a:cubicBezTo>
                  <a:pt x="273195" y="145712"/>
                  <a:pt x="273195" y="145712"/>
                  <a:pt x="31468" y="145712"/>
                </a:cubicBezTo>
                <a:cubicBezTo>
                  <a:pt x="31468" y="145712"/>
                  <a:pt x="31468" y="145712"/>
                  <a:pt x="31468" y="1275102"/>
                </a:cubicBezTo>
                <a:cubicBezTo>
                  <a:pt x="31468" y="1275102"/>
                  <a:pt x="31468" y="1275102"/>
                  <a:pt x="618622" y="1275102"/>
                </a:cubicBezTo>
                <a:cubicBezTo>
                  <a:pt x="625774" y="1286524"/>
                  <a:pt x="633641" y="1297232"/>
                  <a:pt x="642938" y="1306513"/>
                </a:cubicBezTo>
                <a:cubicBezTo>
                  <a:pt x="642938" y="1306513"/>
                  <a:pt x="642938" y="1306513"/>
                  <a:pt x="15734" y="1306513"/>
                </a:cubicBezTo>
                <a:cubicBezTo>
                  <a:pt x="6437" y="1306513"/>
                  <a:pt x="0" y="1300088"/>
                  <a:pt x="0" y="1290807"/>
                </a:cubicBezTo>
                <a:cubicBezTo>
                  <a:pt x="0" y="1290807"/>
                  <a:pt x="0" y="1290807"/>
                  <a:pt x="0" y="130006"/>
                </a:cubicBezTo>
                <a:cubicBezTo>
                  <a:pt x="0" y="121439"/>
                  <a:pt x="6437" y="114300"/>
                  <a:pt x="15734" y="114300"/>
                </a:cubicBezTo>
                <a:close/>
                <a:moveTo>
                  <a:pt x="449263" y="31750"/>
                </a:moveTo>
                <a:cubicBezTo>
                  <a:pt x="441427" y="31750"/>
                  <a:pt x="434304" y="33176"/>
                  <a:pt x="427180" y="35314"/>
                </a:cubicBezTo>
                <a:cubicBezTo>
                  <a:pt x="412933" y="41016"/>
                  <a:pt x="400824" y="52420"/>
                  <a:pt x="393700" y="66675"/>
                </a:cubicBezTo>
                <a:cubicBezTo>
                  <a:pt x="393700" y="66675"/>
                  <a:pt x="393700" y="66675"/>
                  <a:pt x="504825" y="66675"/>
                </a:cubicBezTo>
                <a:cubicBezTo>
                  <a:pt x="497702" y="52420"/>
                  <a:pt x="485592" y="41016"/>
                  <a:pt x="471345" y="35314"/>
                </a:cubicBezTo>
                <a:cubicBezTo>
                  <a:pt x="464222" y="33176"/>
                  <a:pt x="457098" y="31750"/>
                  <a:pt x="449263" y="31750"/>
                </a:cubicBezTo>
                <a:close/>
                <a:moveTo>
                  <a:pt x="449262" y="0"/>
                </a:moveTo>
                <a:cubicBezTo>
                  <a:pt x="478615" y="0"/>
                  <a:pt x="505105" y="13529"/>
                  <a:pt x="522287" y="34890"/>
                </a:cubicBezTo>
                <a:cubicBezTo>
                  <a:pt x="529447" y="44147"/>
                  <a:pt x="535174" y="54827"/>
                  <a:pt x="538754" y="66220"/>
                </a:cubicBezTo>
                <a:cubicBezTo>
                  <a:pt x="538754" y="66220"/>
                  <a:pt x="538754" y="66220"/>
                  <a:pt x="588153" y="66220"/>
                </a:cubicBezTo>
                <a:cubicBezTo>
                  <a:pt x="591733" y="66220"/>
                  <a:pt x="595312" y="69068"/>
                  <a:pt x="595312" y="73340"/>
                </a:cubicBezTo>
                <a:cubicBezTo>
                  <a:pt x="595312" y="73340"/>
                  <a:pt x="595312" y="73340"/>
                  <a:pt x="595312" y="113927"/>
                </a:cubicBezTo>
                <a:cubicBezTo>
                  <a:pt x="595312" y="113927"/>
                  <a:pt x="595312" y="113927"/>
                  <a:pt x="595312" y="145256"/>
                </a:cubicBezTo>
                <a:cubicBezTo>
                  <a:pt x="595312" y="145256"/>
                  <a:pt x="595312" y="145256"/>
                  <a:pt x="595312" y="178010"/>
                </a:cubicBezTo>
                <a:cubicBezTo>
                  <a:pt x="595312" y="186555"/>
                  <a:pt x="588153" y="193675"/>
                  <a:pt x="579562" y="193675"/>
                </a:cubicBezTo>
                <a:cubicBezTo>
                  <a:pt x="579562" y="193675"/>
                  <a:pt x="579562" y="193675"/>
                  <a:pt x="318963" y="193675"/>
                </a:cubicBezTo>
                <a:cubicBezTo>
                  <a:pt x="310372" y="193675"/>
                  <a:pt x="303212" y="186555"/>
                  <a:pt x="303212" y="178010"/>
                </a:cubicBezTo>
                <a:cubicBezTo>
                  <a:pt x="303212" y="178010"/>
                  <a:pt x="303212" y="178010"/>
                  <a:pt x="303212" y="145256"/>
                </a:cubicBezTo>
                <a:cubicBezTo>
                  <a:pt x="303212" y="145256"/>
                  <a:pt x="303212" y="145256"/>
                  <a:pt x="303212" y="113927"/>
                </a:cubicBezTo>
                <a:cubicBezTo>
                  <a:pt x="303212" y="113927"/>
                  <a:pt x="303212" y="113927"/>
                  <a:pt x="303212" y="73340"/>
                </a:cubicBezTo>
                <a:cubicBezTo>
                  <a:pt x="303212" y="69068"/>
                  <a:pt x="306792" y="66220"/>
                  <a:pt x="310372" y="66220"/>
                </a:cubicBezTo>
                <a:cubicBezTo>
                  <a:pt x="310372" y="66220"/>
                  <a:pt x="310372" y="66220"/>
                  <a:pt x="359771" y="66220"/>
                </a:cubicBezTo>
                <a:cubicBezTo>
                  <a:pt x="363350" y="54827"/>
                  <a:pt x="369078" y="44147"/>
                  <a:pt x="376237" y="34890"/>
                </a:cubicBezTo>
                <a:cubicBezTo>
                  <a:pt x="393420" y="13529"/>
                  <a:pt x="419909" y="0"/>
                  <a:pt x="449262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2592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14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999" y="622800"/>
            <a:ext cx="11247261" cy="886397"/>
          </a:xfrm>
        </p:spPr>
        <p:txBody>
          <a:bodyPr/>
          <a:lstStyle/>
          <a:p>
            <a:r>
              <a:rPr lang="en-US" sz="3200" dirty="0">
                <a:latin typeface="+mn-lt"/>
              </a:rPr>
              <a:t>Differentiated mandatory and process controls for categories were defined based on criticality, spend and delegatio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002551" y="4505944"/>
            <a:ext cx="989251" cy="1037271"/>
            <a:chOff x="629980" y="2006036"/>
            <a:chExt cx="989251" cy="1037271"/>
          </a:xfrm>
        </p:grpSpPr>
        <p:sp>
          <p:nvSpPr>
            <p:cNvPr id="56" name="Rectangle 55"/>
            <p:cNvSpPr/>
            <p:nvPr/>
          </p:nvSpPr>
          <p:spPr>
            <a:xfrm>
              <a:off x="629980" y="2827863"/>
              <a:ext cx="989251" cy="21544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Process controls</a:t>
              </a:r>
            </a:p>
          </p:txBody>
        </p:sp>
        <p:grpSp>
          <p:nvGrpSpPr>
            <p:cNvPr id="97" name="bcgIcons_Simplicity">
              <a:extLst>
                <a:ext uri="{FF2B5EF4-FFF2-40B4-BE49-F238E27FC236}">
                  <a16:creationId xmlns:a16="http://schemas.microsoft.com/office/drawing/2014/main" id="{3FE70084-3A31-4EB4-8F49-3599B78A66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22870" y="2006036"/>
              <a:ext cx="803470" cy="804214"/>
              <a:chOff x="1682" y="0"/>
              <a:chExt cx="4316" cy="4320"/>
            </a:xfrm>
          </p:grpSpPr>
          <p:sp>
            <p:nvSpPr>
              <p:cNvPr id="98" name="AutoShape 23">
                <a:extLst>
                  <a:ext uri="{FF2B5EF4-FFF2-40B4-BE49-F238E27FC236}">
                    <a16:creationId xmlns:a16="http://schemas.microsoft.com/office/drawing/2014/main" id="{3659893E-A63E-43B3-9581-A797B0C717D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25">
                <a:extLst>
                  <a:ext uri="{FF2B5EF4-FFF2-40B4-BE49-F238E27FC236}">
                    <a16:creationId xmlns:a16="http://schemas.microsoft.com/office/drawing/2014/main" id="{428B800B-7BCF-495B-A3E0-A8B64B387C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51" y="351"/>
                <a:ext cx="3178" cy="3615"/>
              </a:xfrm>
              <a:custGeom>
                <a:avLst/>
                <a:gdLst>
                  <a:gd name="T0" fmla="*/ 1693 w 1696"/>
                  <a:gd name="T1" fmla="*/ 1152 h 1928"/>
                  <a:gd name="T2" fmla="*/ 1394 w 1696"/>
                  <a:gd name="T3" fmla="*/ 1637 h 1928"/>
                  <a:gd name="T4" fmla="*/ 865 w 1696"/>
                  <a:gd name="T5" fmla="*/ 1831 h 1928"/>
                  <a:gd name="T6" fmla="*/ 924 w 1696"/>
                  <a:gd name="T7" fmla="*/ 1891 h 1928"/>
                  <a:gd name="T8" fmla="*/ 923 w 1696"/>
                  <a:gd name="T9" fmla="*/ 1922 h 1928"/>
                  <a:gd name="T10" fmla="*/ 908 w 1696"/>
                  <a:gd name="T11" fmla="*/ 1928 h 1928"/>
                  <a:gd name="T12" fmla="*/ 892 w 1696"/>
                  <a:gd name="T13" fmla="*/ 1922 h 1928"/>
                  <a:gd name="T14" fmla="*/ 796 w 1696"/>
                  <a:gd name="T15" fmla="*/ 1823 h 1928"/>
                  <a:gd name="T16" fmla="*/ 796 w 1696"/>
                  <a:gd name="T17" fmla="*/ 1791 h 1928"/>
                  <a:gd name="T18" fmla="*/ 895 w 1696"/>
                  <a:gd name="T19" fmla="*/ 1695 h 1928"/>
                  <a:gd name="T20" fmla="*/ 926 w 1696"/>
                  <a:gd name="T21" fmla="*/ 1695 h 1928"/>
                  <a:gd name="T22" fmla="*/ 926 w 1696"/>
                  <a:gd name="T23" fmla="*/ 1726 h 1928"/>
                  <a:gd name="T24" fmla="*/ 864 w 1696"/>
                  <a:gd name="T25" fmla="*/ 1787 h 1928"/>
                  <a:gd name="T26" fmla="*/ 1650 w 1696"/>
                  <a:gd name="T27" fmla="*/ 1143 h 1928"/>
                  <a:gd name="T28" fmla="*/ 1677 w 1696"/>
                  <a:gd name="T29" fmla="*/ 1126 h 1928"/>
                  <a:gd name="T30" fmla="*/ 1693 w 1696"/>
                  <a:gd name="T31" fmla="*/ 1152 h 1928"/>
                  <a:gd name="T32" fmla="*/ 900 w 1696"/>
                  <a:gd name="T33" fmla="*/ 107 h 1928"/>
                  <a:gd name="T34" fmla="*/ 804 w 1696"/>
                  <a:gd name="T35" fmla="*/ 8 h 1928"/>
                  <a:gd name="T36" fmla="*/ 773 w 1696"/>
                  <a:gd name="T37" fmla="*/ 8 h 1928"/>
                  <a:gd name="T38" fmla="*/ 772 w 1696"/>
                  <a:gd name="T39" fmla="*/ 39 h 1928"/>
                  <a:gd name="T40" fmla="*/ 831 w 1696"/>
                  <a:gd name="T41" fmla="*/ 99 h 1928"/>
                  <a:gd name="T42" fmla="*/ 302 w 1696"/>
                  <a:gd name="T43" fmla="*/ 293 h 1928"/>
                  <a:gd name="T44" fmla="*/ 3 w 1696"/>
                  <a:gd name="T45" fmla="*/ 778 h 1928"/>
                  <a:gd name="T46" fmla="*/ 19 w 1696"/>
                  <a:gd name="T47" fmla="*/ 804 h 1928"/>
                  <a:gd name="T48" fmla="*/ 24 w 1696"/>
                  <a:gd name="T49" fmla="*/ 804 h 1928"/>
                  <a:gd name="T50" fmla="*/ 46 w 1696"/>
                  <a:gd name="T51" fmla="*/ 787 h 1928"/>
                  <a:gd name="T52" fmla="*/ 832 w 1696"/>
                  <a:gd name="T53" fmla="*/ 143 h 1928"/>
                  <a:gd name="T54" fmla="*/ 770 w 1696"/>
                  <a:gd name="T55" fmla="*/ 204 h 1928"/>
                  <a:gd name="T56" fmla="*/ 770 w 1696"/>
                  <a:gd name="T57" fmla="*/ 235 h 1928"/>
                  <a:gd name="T58" fmla="*/ 786 w 1696"/>
                  <a:gd name="T59" fmla="*/ 241 h 1928"/>
                  <a:gd name="T60" fmla="*/ 801 w 1696"/>
                  <a:gd name="T61" fmla="*/ 235 h 1928"/>
                  <a:gd name="T62" fmla="*/ 900 w 1696"/>
                  <a:gd name="T63" fmla="*/ 139 h 1928"/>
                  <a:gd name="T64" fmla="*/ 900 w 1696"/>
                  <a:gd name="T65" fmla="*/ 107 h 19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96" h="1928">
                    <a:moveTo>
                      <a:pt x="1693" y="1152"/>
                    </a:moveTo>
                    <a:cubicBezTo>
                      <a:pt x="1652" y="1342"/>
                      <a:pt x="1545" y="1514"/>
                      <a:pt x="1394" y="1637"/>
                    </a:cubicBezTo>
                    <a:cubicBezTo>
                      <a:pt x="1245" y="1759"/>
                      <a:pt x="1057" y="1827"/>
                      <a:pt x="865" y="1831"/>
                    </a:cubicBezTo>
                    <a:cubicBezTo>
                      <a:pt x="924" y="1891"/>
                      <a:pt x="924" y="1891"/>
                      <a:pt x="924" y="1891"/>
                    </a:cubicBezTo>
                    <a:cubicBezTo>
                      <a:pt x="932" y="1900"/>
                      <a:pt x="932" y="1914"/>
                      <a:pt x="923" y="1922"/>
                    </a:cubicBezTo>
                    <a:cubicBezTo>
                      <a:pt x="919" y="1926"/>
                      <a:pt x="913" y="1928"/>
                      <a:pt x="908" y="1928"/>
                    </a:cubicBezTo>
                    <a:cubicBezTo>
                      <a:pt x="902" y="1928"/>
                      <a:pt x="896" y="1926"/>
                      <a:pt x="892" y="1922"/>
                    </a:cubicBezTo>
                    <a:cubicBezTo>
                      <a:pt x="796" y="1823"/>
                      <a:pt x="796" y="1823"/>
                      <a:pt x="796" y="1823"/>
                    </a:cubicBezTo>
                    <a:cubicBezTo>
                      <a:pt x="787" y="1814"/>
                      <a:pt x="787" y="1800"/>
                      <a:pt x="796" y="1791"/>
                    </a:cubicBezTo>
                    <a:cubicBezTo>
                      <a:pt x="895" y="1695"/>
                      <a:pt x="895" y="1695"/>
                      <a:pt x="895" y="1695"/>
                    </a:cubicBezTo>
                    <a:cubicBezTo>
                      <a:pt x="904" y="1686"/>
                      <a:pt x="918" y="1687"/>
                      <a:pt x="926" y="1695"/>
                    </a:cubicBezTo>
                    <a:cubicBezTo>
                      <a:pt x="935" y="1704"/>
                      <a:pt x="934" y="1718"/>
                      <a:pt x="926" y="1726"/>
                    </a:cubicBezTo>
                    <a:cubicBezTo>
                      <a:pt x="864" y="1787"/>
                      <a:pt x="864" y="1787"/>
                      <a:pt x="864" y="1787"/>
                    </a:cubicBezTo>
                    <a:cubicBezTo>
                      <a:pt x="1240" y="1779"/>
                      <a:pt x="1569" y="1511"/>
                      <a:pt x="1650" y="1143"/>
                    </a:cubicBezTo>
                    <a:cubicBezTo>
                      <a:pt x="1653" y="1131"/>
                      <a:pt x="1665" y="1124"/>
                      <a:pt x="1677" y="1126"/>
                    </a:cubicBezTo>
                    <a:cubicBezTo>
                      <a:pt x="1689" y="1129"/>
                      <a:pt x="1696" y="1141"/>
                      <a:pt x="1693" y="1152"/>
                    </a:cubicBezTo>
                    <a:close/>
                    <a:moveTo>
                      <a:pt x="900" y="107"/>
                    </a:moveTo>
                    <a:cubicBezTo>
                      <a:pt x="804" y="8"/>
                      <a:pt x="804" y="8"/>
                      <a:pt x="804" y="8"/>
                    </a:cubicBezTo>
                    <a:cubicBezTo>
                      <a:pt x="795" y="0"/>
                      <a:pt x="782" y="0"/>
                      <a:pt x="773" y="8"/>
                    </a:cubicBezTo>
                    <a:cubicBezTo>
                      <a:pt x="764" y="17"/>
                      <a:pt x="764" y="30"/>
                      <a:pt x="772" y="39"/>
                    </a:cubicBezTo>
                    <a:cubicBezTo>
                      <a:pt x="831" y="99"/>
                      <a:pt x="831" y="99"/>
                      <a:pt x="831" y="99"/>
                    </a:cubicBezTo>
                    <a:cubicBezTo>
                      <a:pt x="639" y="103"/>
                      <a:pt x="451" y="172"/>
                      <a:pt x="302" y="293"/>
                    </a:cubicBezTo>
                    <a:cubicBezTo>
                      <a:pt x="151" y="416"/>
                      <a:pt x="44" y="588"/>
                      <a:pt x="3" y="778"/>
                    </a:cubicBezTo>
                    <a:cubicBezTo>
                      <a:pt x="0" y="789"/>
                      <a:pt x="7" y="801"/>
                      <a:pt x="19" y="804"/>
                    </a:cubicBezTo>
                    <a:cubicBezTo>
                      <a:pt x="21" y="804"/>
                      <a:pt x="23" y="804"/>
                      <a:pt x="24" y="804"/>
                    </a:cubicBezTo>
                    <a:cubicBezTo>
                      <a:pt x="34" y="804"/>
                      <a:pt x="43" y="797"/>
                      <a:pt x="46" y="787"/>
                    </a:cubicBezTo>
                    <a:cubicBezTo>
                      <a:pt x="127" y="419"/>
                      <a:pt x="456" y="151"/>
                      <a:pt x="832" y="143"/>
                    </a:cubicBezTo>
                    <a:cubicBezTo>
                      <a:pt x="770" y="204"/>
                      <a:pt x="770" y="204"/>
                      <a:pt x="770" y="204"/>
                    </a:cubicBezTo>
                    <a:cubicBezTo>
                      <a:pt x="762" y="212"/>
                      <a:pt x="761" y="226"/>
                      <a:pt x="770" y="235"/>
                    </a:cubicBezTo>
                    <a:cubicBezTo>
                      <a:pt x="774" y="239"/>
                      <a:pt x="780" y="241"/>
                      <a:pt x="786" y="241"/>
                    </a:cubicBezTo>
                    <a:cubicBezTo>
                      <a:pt x="791" y="241"/>
                      <a:pt x="797" y="239"/>
                      <a:pt x="801" y="235"/>
                    </a:cubicBezTo>
                    <a:cubicBezTo>
                      <a:pt x="900" y="139"/>
                      <a:pt x="900" y="139"/>
                      <a:pt x="900" y="139"/>
                    </a:cubicBezTo>
                    <a:cubicBezTo>
                      <a:pt x="909" y="130"/>
                      <a:pt x="909" y="116"/>
                      <a:pt x="900" y="10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26">
                <a:extLst>
                  <a:ext uri="{FF2B5EF4-FFF2-40B4-BE49-F238E27FC236}">
                    <a16:creationId xmlns:a16="http://schemas.microsoft.com/office/drawing/2014/main" id="{6C176381-1432-4B8C-A2F8-2DE04B2F16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2" y="570"/>
                <a:ext cx="3616" cy="3176"/>
              </a:xfrm>
              <a:custGeom>
                <a:avLst/>
                <a:gdLst>
                  <a:gd name="T0" fmla="*/ 1922 w 1930"/>
                  <a:gd name="T1" fmla="*/ 804 h 1694"/>
                  <a:gd name="T2" fmla="*/ 1823 w 1930"/>
                  <a:gd name="T3" fmla="*/ 900 h 1694"/>
                  <a:gd name="T4" fmla="*/ 1807 w 1930"/>
                  <a:gd name="T5" fmla="*/ 907 h 1694"/>
                  <a:gd name="T6" fmla="*/ 1791 w 1930"/>
                  <a:gd name="T7" fmla="*/ 900 h 1694"/>
                  <a:gd name="T8" fmla="*/ 1695 w 1930"/>
                  <a:gd name="T9" fmla="*/ 801 h 1694"/>
                  <a:gd name="T10" fmla="*/ 1695 w 1930"/>
                  <a:gd name="T11" fmla="*/ 770 h 1694"/>
                  <a:gd name="T12" fmla="*/ 1726 w 1930"/>
                  <a:gd name="T13" fmla="*/ 770 h 1694"/>
                  <a:gd name="T14" fmla="*/ 1787 w 1930"/>
                  <a:gd name="T15" fmla="*/ 832 h 1694"/>
                  <a:gd name="T16" fmla="*/ 1143 w 1930"/>
                  <a:gd name="T17" fmla="*/ 46 h 1694"/>
                  <a:gd name="T18" fmla="*/ 1126 w 1930"/>
                  <a:gd name="T19" fmla="*/ 19 h 1694"/>
                  <a:gd name="T20" fmla="*/ 1152 w 1930"/>
                  <a:gd name="T21" fmla="*/ 3 h 1694"/>
                  <a:gd name="T22" fmla="*/ 1637 w 1930"/>
                  <a:gd name="T23" fmla="*/ 302 h 1694"/>
                  <a:gd name="T24" fmla="*/ 1831 w 1930"/>
                  <a:gd name="T25" fmla="*/ 831 h 1694"/>
                  <a:gd name="T26" fmla="*/ 1891 w 1930"/>
                  <a:gd name="T27" fmla="*/ 772 h 1694"/>
                  <a:gd name="T28" fmla="*/ 1922 w 1930"/>
                  <a:gd name="T29" fmla="*/ 773 h 1694"/>
                  <a:gd name="T30" fmla="*/ 1922 w 1930"/>
                  <a:gd name="T31" fmla="*/ 804 h 1694"/>
                  <a:gd name="T32" fmla="*/ 787 w 1930"/>
                  <a:gd name="T33" fmla="*/ 1651 h 1694"/>
                  <a:gd name="T34" fmla="*/ 143 w 1930"/>
                  <a:gd name="T35" fmla="*/ 864 h 1694"/>
                  <a:gd name="T36" fmla="*/ 204 w 1930"/>
                  <a:gd name="T37" fmla="*/ 926 h 1694"/>
                  <a:gd name="T38" fmla="*/ 219 w 1930"/>
                  <a:gd name="T39" fmla="*/ 932 h 1694"/>
                  <a:gd name="T40" fmla="*/ 235 w 1930"/>
                  <a:gd name="T41" fmla="*/ 926 h 1694"/>
                  <a:gd name="T42" fmla="*/ 235 w 1930"/>
                  <a:gd name="T43" fmla="*/ 895 h 1694"/>
                  <a:gd name="T44" fmla="*/ 139 w 1930"/>
                  <a:gd name="T45" fmla="*/ 796 h 1694"/>
                  <a:gd name="T46" fmla="*/ 107 w 1930"/>
                  <a:gd name="T47" fmla="*/ 796 h 1694"/>
                  <a:gd name="T48" fmla="*/ 8 w 1930"/>
                  <a:gd name="T49" fmla="*/ 892 h 1694"/>
                  <a:gd name="T50" fmla="*/ 8 w 1930"/>
                  <a:gd name="T51" fmla="*/ 923 h 1694"/>
                  <a:gd name="T52" fmla="*/ 39 w 1930"/>
                  <a:gd name="T53" fmla="*/ 924 h 1694"/>
                  <a:gd name="T54" fmla="*/ 99 w 1930"/>
                  <a:gd name="T55" fmla="*/ 865 h 1694"/>
                  <a:gd name="T56" fmla="*/ 293 w 1930"/>
                  <a:gd name="T57" fmla="*/ 1394 h 1694"/>
                  <a:gd name="T58" fmla="*/ 778 w 1930"/>
                  <a:gd name="T59" fmla="*/ 1693 h 1694"/>
                  <a:gd name="T60" fmla="*/ 782 w 1930"/>
                  <a:gd name="T61" fmla="*/ 1694 h 1694"/>
                  <a:gd name="T62" fmla="*/ 804 w 1930"/>
                  <a:gd name="T63" fmla="*/ 1677 h 1694"/>
                  <a:gd name="T64" fmla="*/ 787 w 1930"/>
                  <a:gd name="T65" fmla="*/ 1651 h 1694"/>
                  <a:gd name="T66" fmla="*/ 1473 w 1930"/>
                  <a:gd name="T67" fmla="*/ 848 h 1694"/>
                  <a:gd name="T68" fmla="*/ 965 w 1930"/>
                  <a:gd name="T69" fmla="*/ 1356 h 1694"/>
                  <a:gd name="T70" fmla="*/ 457 w 1930"/>
                  <a:gd name="T71" fmla="*/ 848 h 1694"/>
                  <a:gd name="T72" fmla="*/ 965 w 1930"/>
                  <a:gd name="T73" fmla="*/ 340 h 1694"/>
                  <a:gd name="T74" fmla="*/ 1473 w 1930"/>
                  <a:gd name="T75" fmla="*/ 848 h 1694"/>
                  <a:gd name="T76" fmla="*/ 1290 w 1930"/>
                  <a:gd name="T77" fmla="*/ 639 h 1694"/>
                  <a:gd name="T78" fmla="*/ 1259 w 1930"/>
                  <a:gd name="T79" fmla="*/ 640 h 1694"/>
                  <a:gd name="T80" fmla="*/ 921 w 1930"/>
                  <a:gd name="T81" fmla="*/ 988 h 1694"/>
                  <a:gd name="T82" fmla="*/ 735 w 1930"/>
                  <a:gd name="T83" fmla="*/ 819 h 1694"/>
                  <a:gd name="T84" fmla="*/ 704 w 1930"/>
                  <a:gd name="T85" fmla="*/ 820 h 1694"/>
                  <a:gd name="T86" fmla="*/ 705 w 1930"/>
                  <a:gd name="T87" fmla="*/ 851 h 1694"/>
                  <a:gd name="T88" fmla="*/ 907 w 1930"/>
                  <a:gd name="T89" fmla="*/ 1035 h 1694"/>
                  <a:gd name="T90" fmla="*/ 922 w 1930"/>
                  <a:gd name="T91" fmla="*/ 1041 h 1694"/>
                  <a:gd name="T92" fmla="*/ 937 w 1930"/>
                  <a:gd name="T93" fmla="*/ 1034 h 1694"/>
                  <a:gd name="T94" fmla="*/ 1290 w 1930"/>
                  <a:gd name="T95" fmla="*/ 671 h 1694"/>
                  <a:gd name="T96" fmla="*/ 1290 w 1930"/>
                  <a:gd name="T97" fmla="*/ 639 h 1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30" h="1694">
                    <a:moveTo>
                      <a:pt x="1922" y="804"/>
                    </a:moveTo>
                    <a:cubicBezTo>
                      <a:pt x="1823" y="900"/>
                      <a:pt x="1823" y="900"/>
                      <a:pt x="1823" y="900"/>
                    </a:cubicBezTo>
                    <a:cubicBezTo>
                      <a:pt x="1818" y="905"/>
                      <a:pt x="1813" y="907"/>
                      <a:pt x="1807" y="907"/>
                    </a:cubicBezTo>
                    <a:cubicBezTo>
                      <a:pt x="1801" y="907"/>
                      <a:pt x="1796" y="904"/>
                      <a:pt x="1791" y="900"/>
                    </a:cubicBezTo>
                    <a:cubicBezTo>
                      <a:pt x="1695" y="801"/>
                      <a:pt x="1695" y="801"/>
                      <a:pt x="1695" y="801"/>
                    </a:cubicBezTo>
                    <a:cubicBezTo>
                      <a:pt x="1686" y="792"/>
                      <a:pt x="1687" y="778"/>
                      <a:pt x="1695" y="770"/>
                    </a:cubicBezTo>
                    <a:cubicBezTo>
                      <a:pt x="1704" y="761"/>
                      <a:pt x="1718" y="762"/>
                      <a:pt x="1726" y="770"/>
                    </a:cubicBezTo>
                    <a:cubicBezTo>
                      <a:pt x="1787" y="832"/>
                      <a:pt x="1787" y="832"/>
                      <a:pt x="1787" y="832"/>
                    </a:cubicBezTo>
                    <a:cubicBezTo>
                      <a:pt x="1779" y="456"/>
                      <a:pt x="1511" y="127"/>
                      <a:pt x="1143" y="46"/>
                    </a:cubicBezTo>
                    <a:cubicBezTo>
                      <a:pt x="1131" y="43"/>
                      <a:pt x="1124" y="31"/>
                      <a:pt x="1126" y="19"/>
                    </a:cubicBezTo>
                    <a:cubicBezTo>
                      <a:pt x="1129" y="8"/>
                      <a:pt x="1141" y="0"/>
                      <a:pt x="1152" y="3"/>
                    </a:cubicBezTo>
                    <a:cubicBezTo>
                      <a:pt x="1342" y="44"/>
                      <a:pt x="1514" y="151"/>
                      <a:pt x="1637" y="302"/>
                    </a:cubicBezTo>
                    <a:cubicBezTo>
                      <a:pt x="1759" y="451"/>
                      <a:pt x="1827" y="639"/>
                      <a:pt x="1831" y="831"/>
                    </a:cubicBezTo>
                    <a:cubicBezTo>
                      <a:pt x="1891" y="772"/>
                      <a:pt x="1891" y="772"/>
                      <a:pt x="1891" y="772"/>
                    </a:cubicBezTo>
                    <a:cubicBezTo>
                      <a:pt x="1900" y="764"/>
                      <a:pt x="1914" y="764"/>
                      <a:pt x="1922" y="773"/>
                    </a:cubicBezTo>
                    <a:cubicBezTo>
                      <a:pt x="1930" y="781"/>
                      <a:pt x="1930" y="795"/>
                      <a:pt x="1922" y="804"/>
                    </a:cubicBezTo>
                    <a:close/>
                    <a:moveTo>
                      <a:pt x="787" y="1651"/>
                    </a:moveTo>
                    <a:cubicBezTo>
                      <a:pt x="419" y="1569"/>
                      <a:pt x="151" y="1240"/>
                      <a:pt x="143" y="864"/>
                    </a:cubicBezTo>
                    <a:cubicBezTo>
                      <a:pt x="204" y="926"/>
                      <a:pt x="204" y="926"/>
                      <a:pt x="204" y="926"/>
                    </a:cubicBezTo>
                    <a:cubicBezTo>
                      <a:pt x="208" y="930"/>
                      <a:pt x="214" y="932"/>
                      <a:pt x="219" y="932"/>
                    </a:cubicBezTo>
                    <a:cubicBezTo>
                      <a:pt x="225" y="932"/>
                      <a:pt x="230" y="930"/>
                      <a:pt x="235" y="926"/>
                    </a:cubicBezTo>
                    <a:cubicBezTo>
                      <a:pt x="243" y="918"/>
                      <a:pt x="244" y="904"/>
                      <a:pt x="235" y="895"/>
                    </a:cubicBezTo>
                    <a:cubicBezTo>
                      <a:pt x="139" y="796"/>
                      <a:pt x="139" y="796"/>
                      <a:pt x="139" y="796"/>
                    </a:cubicBezTo>
                    <a:cubicBezTo>
                      <a:pt x="130" y="787"/>
                      <a:pt x="116" y="787"/>
                      <a:pt x="107" y="796"/>
                    </a:cubicBezTo>
                    <a:cubicBezTo>
                      <a:pt x="8" y="892"/>
                      <a:pt x="8" y="892"/>
                      <a:pt x="8" y="892"/>
                    </a:cubicBezTo>
                    <a:cubicBezTo>
                      <a:pt x="0" y="901"/>
                      <a:pt x="0" y="915"/>
                      <a:pt x="8" y="923"/>
                    </a:cubicBezTo>
                    <a:cubicBezTo>
                      <a:pt x="16" y="932"/>
                      <a:pt x="30" y="932"/>
                      <a:pt x="39" y="924"/>
                    </a:cubicBezTo>
                    <a:cubicBezTo>
                      <a:pt x="99" y="865"/>
                      <a:pt x="99" y="865"/>
                      <a:pt x="99" y="865"/>
                    </a:cubicBezTo>
                    <a:cubicBezTo>
                      <a:pt x="103" y="1057"/>
                      <a:pt x="172" y="1245"/>
                      <a:pt x="293" y="1394"/>
                    </a:cubicBezTo>
                    <a:cubicBezTo>
                      <a:pt x="416" y="1545"/>
                      <a:pt x="588" y="1652"/>
                      <a:pt x="778" y="1693"/>
                    </a:cubicBezTo>
                    <a:cubicBezTo>
                      <a:pt x="779" y="1694"/>
                      <a:pt x="781" y="1694"/>
                      <a:pt x="782" y="1694"/>
                    </a:cubicBezTo>
                    <a:cubicBezTo>
                      <a:pt x="792" y="1694"/>
                      <a:pt x="802" y="1687"/>
                      <a:pt x="804" y="1677"/>
                    </a:cubicBezTo>
                    <a:cubicBezTo>
                      <a:pt x="806" y="1665"/>
                      <a:pt x="799" y="1653"/>
                      <a:pt x="787" y="1651"/>
                    </a:cubicBezTo>
                    <a:close/>
                    <a:moveTo>
                      <a:pt x="1473" y="848"/>
                    </a:moveTo>
                    <a:cubicBezTo>
                      <a:pt x="1473" y="1129"/>
                      <a:pt x="1246" y="1356"/>
                      <a:pt x="965" y="1356"/>
                    </a:cubicBezTo>
                    <a:cubicBezTo>
                      <a:pt x="684" y="1356"/>
                      <a:pt x="457" y="1129"/>
                      <a:pt x="457" y="848"/>
                    </a:cubicBezTo>
                    <a:cubicBezTo>
                      <a:pt x="457" y="567"/>
                      <a:pt x="684" y="340"/>
                      <a:pt x="965" y="340"/>
                    </a:cubicBezTo>
                    <a:cubicBezTo>
                      <a:pt x="1246" y="340"/>
                      <a:pt x="1473" y="567"/>
                      <a:pt x="1473" y="848"/>
                    </a:cubicBezTo>
                    <a:close/>
                    <a:moveTo>
                      <a:pt x="1290" y="639"/>
                    </a:moveTo>
                    <a:cubicBezTo>
                      <a:pt x="1281" y="631"/>
                      <a:pt x="1267" y="631"/>
                      <a:pt x="1259" y="640"/>
                    </a:cubicBezTo>
                    <a:cubicBezTo>
                      <a:pt x="921" y="988"/>
                      <a:pt x="921" y="988"/>
                      <a:pt x="921" y="988"/>
                    </a:cubicBezTo>
                    <a:cubicBezTo>
                      <a:pt x="735" y="819"/>
                      <a:pt x="735" y="819"/>
                      <a:pt x="735" y="819"/>
                    </a:cubicBezTo>
                    <a:cubicBezTo>
                      <a:pt x="726" y="810"/>
                      <a:pt x="712" y="811"/>
                      <a:pt x="704" y="820"/>
                    </a:cubicBezTo>
                    <a:cubicBezTo>
                      <a:pt x="696" y="829"/>
                      <a:pt x="696" y="843"/>
                      <a:pt x="705" y="851"/>
                    </a:cubicBezTo>
                    <a:cubicBezTo>
                      <a:pt x="907" y="1035"/>
                      <a:pt x="907" y="1035"/>
                      <a:pt x="907" y="1035"/>
                    </a:cubicBezTo>
                    <a:cubicBezTo>
                      <a:pt x="911" y="1039"/>
                      <a:pt x="916" y="1041"/>
                      <a:pt x="922" y="1041"/>
                    </a:cubicBezTo>
                    <a:cubicBezTo>
                      <a:pt x="927" y="1041"/>
                      <a:pt x="933" y="1039"/>
                      <a:pt x="937" y="1034"/>
                    </a:cubicBezTo>
                    <a:cubicBezTo>
                      <a:pt x="1290" y="671"/>
                      <a:pt x="1290" y="671"/>
                      <a:pt x="1290" y="671"/>
                    </a:cubicBezTo>
                    <a:cubicBezTo>
                      <a:pt x="1299" y="662"/>
                      <a:pt x="1299" y="648"/>
                      <a:pt x="1290" y="63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4" name="Rectangle 53"/>
          <p:cNvSpPr/>
          <p:nvPr/>
        </p:nvSpPr>
        <p:spPr>
          <a:xfrm>
            <a:off x="2246268" y="2143873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ue diligence</a:t>
            </a:r>
          </a:p>
        </p:txBody>
      </p:sp>
      <p:sp>
        <p:nvSpPr>
          <p:cNvPr id="70" name="Rectangle 69"/>
          <p:cNvSpPr/>
          <p:nvPr/>
        </p:nvSpPr>
        <p:spPr>
          <a:xfrm>
            <a:off x="2246268" y="2940727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ourcing strategy/award approval by partner</a:t>
            </a:r>
          </a:p>
        </p:txBody>
      </p:sp>
      <p:sp>
        <p:nvSpPr>
          <p:cNvPr id="58" name="Rectangle 57"/>
          <p:cNvSpPr/>
          <p:nvPr/>
        </p:nvSpPr>
        <p:spPr>
          <a:xfrm>
            <a:off x="2246268" y="2535956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inancial risk evaluation</a:t>
            </a:r>
          </a:p>
        </p:txBody>
      </p:sp>
      <p:sp>
        <p:nvSpPr>
          <p:cNvPr id="62" name="Rectangle 61"/>
          <p:cNvSpPr/>
          <p:nvPr/>
        </p:nvSpPr>
        <p:spPr>
          <a:xfrm>
            <a:off x="2246268" y="4670682"/>
            <a:ext cx="4173592" cy="335352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pplier Performance Evalu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2246268" y="3880540"/>
            <a:ext cx="4173592" cy="335352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pth of analysis in sourcing strategic planning</a:t>
            </a:r>
          </a:p>
        </p:txBody>
      </p:sp>
      <p:sp>
        <p:nvSpPr>
          <p:cNvPr id="75" name="Rectangle 74"/>
          <p:cNvSpPr/>
          <p:nvPr/>
        </p:nvSpPr>
        <p:spPr>
          <a:xfrm>
            <a:off x="2246268" y="3332810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ward approval by </a:t>
            </a:r>
            <a:r>
              <a:rPr lang="en-US" sz="1400" dirty="0" err="1">
                <a:solidFill>
                  <a:schemeClr val="tx1"/>
                </a:solidFill>
              </a:rPr>
              <a:t>DoA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2246268" y="4275611"/>
            <a:ext cx="4173592" cy="335352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ourcing strategy validation by VP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088613" y="2113739"/>
            <a:ext cx="6897" cy="1554424"/>
          </a:xfrm>
          <a:prstGeom prst="line">
            <a:avLst/>
          </a:prstGeom>
          <a:ln w="9525" cap="flat" cmpd="sng" algn="ctr">
            <a:solidFill>
              <a:srgbClr val="7030A0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/>
          <p:cNvSpPr/>
          <p:nvPr/>
        </p:nvSpPr>
        <p:spPr>
          <a:xfrm>
            <a:off x="2246268" y="5460825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riba Award recommendation by </a:t>
            </a:r>
            <a:r>
              <a:rPr lang="en-US" sz="1400" dirty="0" err="1">
                <a:solidFill>
                  <a:schemeClr val="tx1"/>
                </a:solidFill>
              </a:rPr>
              <a:t>SC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246268" y="5065753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riba process tracking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2246268" y="5855898"/>
            <a:ext cx="4173592" cy="33535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tract release in SAP </a:t>
            </a:r>
            <a:r>
              <a:rPr lang="en-US" sz="1400" dirty="0" err="1">
                <a:solidFill>
                  <a:schemeClr val="tx1"/>
                </a:solidFill>
              </a:rPr>
              <a:t>ECC</a:t>
            </a:r>
            <a:r>
              <a:rPr lang="en-US" sz="1400" dirty="0">
                <a:solidFill>
                  <a:schemeClr val="tx1"/>
                </a:solidFill>
              </a:rPr>
              <a:t> by </a:t>
            </a:r>
            <a:r>
              <a:rPr lang="en-US" sz="1400" dirty="0" err="1">
                <a:solidFill>
                  <a:schemeClr val="tx1"/>
                </a:solidFill>
              </a:rPr>
              <a:t>SC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246268" y="1692999"/>
            <a:ext cx="1906642" cy="3650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Control mechanisms</a:t>
            </a:r>
          </a:p>
        </p:txBody>
      </p:sp>
      <p:grpSp>
        <p:nvGrpSpPr>
          <p:cNvPr id="110" name="Group 109"/>
          <p:cNvGrpSpPr/>
          <p:nvPr/>
        </p:nvGrpSpPr>
        <p:grpSpPr>
          <a:xfrm>
            <a:off x="6752549" y="2081213"/>
            <a:ext cx="306171" cy="4079081"/>
            <a:chOff x="5942914" y="2081213"/>
            <a:chExt cx="306171" cy="4079081"/>
          </a:xfrm>
        </p:grpSpPr>
        <p:cxnSp>
          <p:nvCxnSpPr>
            <p:cNvPr id="112" name="Straight Connector 111"/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roup 113"/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115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16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117" name="Group 116"/>
          <p:cNvGrpSpPr>
            <a:grpSpLocks noChangeAspect="1"/>
          </p:cNvGrpSpPr>
          <p:nvPr/>
        </p:nvGrpSpPr>
        <p:grpSpPr>
          <a:xfrm>
            <a:off x="967758" y="2177345"/>
            <a:ext cx="984858" cy="985770"/>
            <a:chOff x="5273801" y="2606040"/>
            <a:chExt cx="1644397" cy="1645920"/>
          </a:xfrm>
        </p:grpSpPr>
        <p:sp>
          <p:nvSpPr>
            <p:cNvPr id="125" name="AutoShape 12">
              <a:extLst>
                <a:ext uri="{FF2B5EF4-FFF2-40B4-BE49-F238E27FC236}">
                  <a16:creationId xmlns:a16="http://schemas.microsoft.com/office/drawing/2014/main" id="{0404F15B-46A3-46E4-8085-74FF02B2D88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26" name="Group 125"/>
            <p:cNvGrpSpPr/>
            <p:nvPr/>
          </p:nvGrpSpPr>
          <p:grpSpPr>
            <a:xfrm>
              <a:off x="5370956" y="3056763"/>
              <a:ext cx="1448944" cy="745998"/>
              <a:chOff x="5370956" y="3056763"/>
              <a:chExt cx="1448944" cy="745998"/>
            </a:xfrm>
          </p:grpSpPr>
          <p:sp>
            <p:nvSpPr>
              <p:cNvPr id="127" name="Freeform 14">
                <a:extLst>
                  <a:ext uri="{FF2B5EF4-FFF2-40B4-BE49-F238E27FC236}">
                    <a16:creationId xmlns:a16="http://schemas.microsoft.com/office/drawing/2014/main" id="{F2E1839F-95BE-4872-A2D3-2F7CE08805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9680" y="3161919"/>
                <a:ext cx="534543" cy="535686"/>
              </a:xfrm>
              <a:custGeom>
                <a:avLst/>
                <a:gdLst>
                  <a:gd name="T0" fmla="*/ 375 w 749"/>
                  <a:gd name="T1" fmla="*/ 0 h 750"/>
                  <a:gd name="T2" fmla="*/ 0 w 749"/>
                  <a:gd name="T3" fmla="*/ 375 h 750"/>
                  <a:gd name="T4" fmla="*/ 375 w 749"/>
                  <a:gd name="T5" fmla="*/ 750 h 750"/>
                  <a:gd name="T6" fmla="*/ 749 w 749"/>
                  <a:gd name="T7" fmla="*/ 375 h 750"/>
                  <a:gd name="T8" fmla="*/ 375 w 749"/>
                  <a:gd name="T9" fmla="*/ 0 h 750"/>
                  <a:gd name="T10" fmla="*/ 375 w 749"/>
                  <a:gd name="T11" fmla="*/ 549 h 750"/>
                  <a:gd name="T12" fmla="*/ 200 w 749"/>
                  <a:gd name="T13" fmla="*/ 375 h 750"/>
                  <a:gd name="T14" fmla="*/ 375 w 749"/>
                  <a:gd name="T15" fmla="*/ 201 h 750"/>
                  <a:gd name="T16" fmla="*/ 549 w 749"/>
                  <a:gd name="T17" fmla="*/ 375 h 750"/>
                  <a:gd name="T18" fmla="*/ 375 w 749"/>
                  <a:gd name="T19" fmla="*/ 549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9" h="750">
                    <a:moveTo>
                      <a:pt x="375" y="0"/>
                    </a:moveTo>
                    <a:cubicBezTo>
                      <a:pt x="167" y="0"/>
                      <a:pt x="0" y="169"/>
                      <a:pt x="0" y="375"/>
                    </a:cubicBezTo>
                    <a:cubicBezTo>
                      <a:pt x="0" y="582"/>
                      <a:pt x="167" y="750"/>
                      <a:pt x="375" y="750"/>
                    </a:cubicBezTo>
                    <a:cubicBezTo>
                      <a:pt x="582" y="750"/>
                      <a:pt x="749" y="582"/>
                      <a:pt x="749" y="375"/>
                    </a:cubicBezTo>
                    <a:cubicBezTo>
                      <a:pt x="749" y="169"/>
                      <a:pt x="582" y="0"/>
                      <a:pt x="375" y="0"/>
                    </a:cubicBezTo>
                    <a:close/>
                    <a:moveTo>
                      <a:pt x="375" y="549"/>
                    </a:moveTo>
                    <a:cubicBezTo>
                      <a:pt x="279" y="549"/>
                      <a:pt x="200" y="472"/>
                      <a:pt x="200" y="375"/>
                    </a:cubicBezTo>
                    <a:cubicBezTo>
                      <a:pt x="200" y="279"/>
                      <a:pt x="279" y="201"/>
                      <a:pt x="375" y="201"/>
                    </a:cubicBezTo>
                    <a:cubicBezTo>
                      <a:pt x="471" y="201"/>
                      <a:pt x="549" y="279"/>
                      <a:pt x="549" y="375"/>
                    </a:cubicBezTo>
                    <a:cubicBezTo>
                      <a:pt x="549" y="472"/>
                      <a:pt x="471" y="549"/>
                      <a:pt x="375" y="549"/>
                    </a:cubicBezTo>
                    <a:close/>
                  </a:path>
                </a:pathLst>
              </a:custGeom>
              <a:solidFill>
                <a:srgbClr val="6340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15">
                <a:extLst>
                  <a:ext uri="{FF2B5EF4-FFF2-40B4-BE49-F238E27FC236}">
                    <a16:creationId xmlns:a16="http://schemas.microsoft.com/office/drawing/2014/main" id="{4595F452-7D04-4C9E-B982-85F70F8BEB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0956" y="3056763"/>
                <a:ext cx="1448944" cy="745998"/>
              </a:xfrm>
              <a:custGeom>
                <a:avLst/>
                <a:gdLst>
                  <a:gd name="T0" fmla="*/ 1012 w 2030"/>
                  <a:gd name="T1" fmla="*/ 1044 h 1044"/>
                  <a:gd name="T2" fmla="*/ 293 w 2030"/>
                  <a:gd name="T3" fmla="*/ 790 h 1044"/>
                  <a:gd name="T4" fmla="*/ 7 w 2030"/>
                  <a:gd name="T5" fmla="*/ 536 h 1044"/>
                  <a:gd name="T6" fmla="*/ 7 w 2030"/>
                  <a:gd name="T7" fmla="*/ 508 h 1044"/>
                  <a:gd name="T8" fmla="*/ 295 w 2030"/>
                  <a:gd name="T9" fmla="*/ 254 h 1044"/>
                  <a:gd name="T10" fmla="*/ 1018 w 2030"/>
                  <a:gd name="T11" fmla="*/ 0 h 1044"/>
                  <a:gd name="T12" fmla="*/ 1737 w 2030"/>
                  <a:gd name="T13" fmla="*/ 254 h 1044"/>
                  <a:gd name="T14" fmla="*/ 2023 w 2030"/>
                  <a:gd name="T15" fmla="*/ 508 h 1044"/>
                  <a:gd name="T16" fmla="*/ 2023 w 2030"/>
                  <a:gd name="T17" fmla="*/ 536 h 1044"/>
                  <a:gd name="T18" fmla="*/ 1735 w 2030"/>
                  <a:gd name="T19" fmla="*/ 790 h 1044"/>
                  <a:gd name="T20" fmla="*/ 1012 w 2030"/>
                  <a:gd name="T21" fmla="*/ 1044 h 1044"/>
                  <a:gd name="T22" fmla="*/ 53 w 2030"/>
                  <a:gd name="T23" fmla="*/ 522 h 1044"/>
                  <a:gd name="T24" fmla="*/ 319 w 2030"/>
                  <a:gd name="T25" fmla="*/ 755 h 1044"/>
                  <a:gd name="T26" fmla="*/ 1012 w 2030"/>
                  <a:gd name="T27" fmla="*/ 1000 h 1044"/>
                  <a:gd name="T28" fmla="*/ 1709 w 2030"/>
                  <a:gd name="T29" fmla="*/ 754 h 1044"/>
                  <a:gd name="T30" fmla="*/ 1977 w 2030"/>
                  <a:gd name="T31" fmla="*/ 522 h 1044"/>
                  <a:gd name="T32" fmla="*/ 1711 w 2030"/>
                  <a:gd name="T33" fmla="*/ 289 h 1044"/>
                  <a:gd name="T34" fmla="*/ 1018 w 2030"/>
                  <a:gd name="T35" fmla="*/ 44 h 1044"/>
                  <a:gd name="T36" fmla="*/ 321 w 2030"/>
                  <a:gd name="T37" fmla="*/ 290 h 1044"/>
                  <a:gd name="T38" fmla="*/ 53 w 2030"/>
                  <a:gd name="T39" fmla="*/ 522 h 1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30" h="1044">
                    <a:moveTo>
                      <a:pt x="1012" y="1044"/>
                    </a:moveTo>
                    <a:cubicBezTo>
                      <a:pt x="714" y="1044"/>
                      <a:pt x="456" y="906"/>
                      <a:pt x="293" y="790"/>
                    </a:cubicBezTo>
                    <a:cubicBezTo>
                      <a:pt x="116" y="665"/>
                      <a:pt x="11" y="541"/>
                      <a:pt x="7" y="536"/>
                    </a:cubicBezTo>
                    <a:cubicBezTo>
                      <a:pt x="0" y="528"/>
                      <a:pt x="0" y="516"/>
                      <a:pt x="7" y="508"/>
                    </a:cubicBezTo>
                    <a:cubicBezTo>
                      <a:pt x="11" y="503"/>
                      <a:pt x="117" y="379"/>
                      <a:pt x="295" y="254"/>
                    </a:cubicBezTo>
                    <a:cubicBezTo>
                      <a:pt x="460" y="138"/>
                      <a:pt x="719" y="0"/>
                      <a:pt x="1018" y="0"/>
                    </a:cubicBezTo>
                    <a:cubicBezTo>
                      <a:pt x="1316" y="0"/>
                      <a:pt x="1574" y="138"/>
                      <a:pt x="1737" y="254"/>
                    </a:cubicBezTo>
                    <a:cubicBezTo>
                      <a:pt x="1914" y="379"/>
                      <a:pt x="2019" y="503"/>
                      <a:pt x="2023" y="508"/>
                    </a:cubicBezTo>
                    <a:cubicBezTo>
                      <a:pt x="2030" y="516"/>
                      <a:pt x="2030" y="528"/>
                      <a:pt x="2023" y="536"/>
                    </a:cubicBezTo>
                    <a:cubicBezTo>
                      <a:pt x="2019" y="541"/>
                      <a:pt x="1912" y="665"/>
                      <a:pt x="1735" y="790"/>
                    </a:cubicBezTo>
                    <a:cubicBezTo>
                      <a:pt x="1570" y="906"/>
                      <a:pt x="1311" y="1044"/>
                      <a:pt x="1012" y="1044"/>
                    </a:cubicBezTo>
                    <a:close/>
                    <a:moveTo>
                      <a:pt x="53" y="522"/>
                    </a:moveTo>
                    <a:cubicBezTo>
                      <a:pt x="86" y="558"/>
                      <a:pt x="181" y="657"/>
                      <a:pt x="319" y="755"/>
                    </a:cubicBezTo>
                    <a:cubicBezTo>
                      <a:pt x="477" y="867"/>
                      <a:pt x="726" y="1000"/>
                      <a:pt x="1012" y="1000"/>
                    </a:cubicBezTo>
                    <a:cubicBezTo>
                      <a:pt x="1299" y="1000"/>
                      <a:pt x="1550" y="866"/>
                      <a:pt x="1709" y="754"/>
                    </a:cubicBezTo>
                    <a:cubicBezTo>
                      <a:pt x="1848" y="656"/>
                      <a:pt x="1944" y="558"/>
                      <a:pt x="1977" y="522"/>
                    </a:cubicBezTo>
                    <a:cubicBezTo>
                      <a:pt x="1944" y="486"/>
                      <a:pt x="1849" y="387"/>
                      <a:pt x="1711" y="289"/>
                    </a:cubicBezTo>
                    <a:cubicBezTo>
                      <a:pt x="1553" y="177"/>
                      <a:pt x="1304" y="44"/>
                      <a:pt x="1018" y="44"/>
                    </a:cubicBezTo>
                    <a:cubicBezTo>
                      <a:pt x="731" y="44"/>
                      <a:pt x="480" y="178"/>
                      <a:pt x="321" y="290"/>
                    </a:cubicBezTo>
                    <a:cubicBezTo>
                      <a:pt x="182" y="388"/>
                      <a:pt x="86" y="486"/>
                      <a:pt x="53" y="522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29" name="Rectangle 128"/>
          <p:cNvSpPr/>
          <p:nvPr/>
        </p:nvSpPr>
        <p:spPr>
          <a:xfrm>
            <a:off x="963365" y="2938146"/>
            <a:ext cx="989251" cy="2154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634096"/>
                </a:solidFill>
              </a:rPr>
              <a:t>Mandatory controls set by </a:t>
            </a:r>
            <a:r>
              <a:rPr lang="en-US" sz="1400" dirty="0" err="1">
                <a:solidFill>
                  <a:srgbClr val="634096"/>
                </a:solidFill>
              </a:rPr>
              <a:t>Frontera</a:t>
            </a:r>
            <a:endParaRPr lang="en-US" sz="1400" dirty="0">
              <a:solidFill>
                <a:srgbClr val="634096"/>
              </a:solidFill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H="1">
            <a:off x="2083204" y="3880540"/>
            <a:ext cx="0" cy="2310711"/>
          </a:xfrm>
          <a:prstGeom prst="line">
            <a:avLst/>
          </a:prstGeom>
          <a:ln w="9525" cap="flat" cmpd="sng" algn="ctr">
            <a:solidFill>
              <a:srgbClr val="B61872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ee4pContent2"/>
          <p:cNvSpPr txBox="1"/>
          <p:nvPr/>
        </p:nvSpPr>
        <p:spPr>
          <a:xfrm>
            <a:off x="7475007" y="2664554"/>
            <a:ext cx="3754978" cy="29123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600" b="1" dirty="0"/>
              <a:t>Frequency and characteristics of controls based on</a:t>
            </a:r>
          </a:p>
          <a:p>
            <a:pPr marL="259200" lvl="1" indent="-172800">
              <a:buClr>
                <a:srgbClr val="7F7F7F">
                  <a:lumMod val="100000"/>
                </a:srgbClr>
              </a:buClr>
            </a:pPr>
            <a:r>
              <a:rPr lang="en-US" sz="1600" dirty="0">
                <a:solidFill>
                  <a:srgbClr val="7F7F7F">
                    <a:lumMod val="100000"/>
                  </a:srgbClr>
                </a:solidFill>
              </a:rPr>
              <a:t>Size of spend</a:t>
            </a:r>
          </a:p>
          <a:p>
            <a:pPr marL="259200" lvl="1" indent="-172800">
              <a:buClr>
                <a:srgbClr val="7F7F7F">
                  <a:lumMod val="100000"/>
                </a:srgbClr>
              </a:buClr>
            </a:pPr>
            <a:r>
              <a:rPr lang="en-US" sz="1600" dirty="0">
                <a:solidFill>
                  <a:srgbClr val="7F7F7F">
                    <a:lumMod val="100000"/>
                  </a:srgbClr>
                </a:solidFill>
              </a:rPr>
              <a:t>Criticality of spend category</a:t>
            </a:r>
          </a:p>
          <a:p>
            <a:pPr marL="259200" lvl="1" indent="-172800">
              <a:buClr>
                <a:srgbClr val="7F7F7F">
                  <a:lumMod val="100000"/>
                </a:srgbClr>
              </a:buClr>
            </a:pPr>
            <a:r>
              <a:rPr lang="en-US" sz="1600" dirty="0">
                <a:solidFill>
                  <a:srgbClr val="7F7F7F">
                    <a:lumMod val="100000"/>
                  </a:srgbClr>
                </a:solidFill>
              </a:rPr>
              <a:t>Compliance risk</a:t>
            </a:r>
          </a:p>
          <a:p>
            <a:pPr marL="259200" lvl="1" indent="-172800">
              <a:buClr>
                <a:srgbClr val="7F7F7F">
                  <a:lumMod val="100000"/>
                </a:srgbClr>
              </a:buClr>
            </a:pPr>
            <a:r>
              <a:rPr lang="en-US" sz="1600" dirty="0">
                <a:solidFill>
                  <a:srgbClr val="7F7F7F">
                    <a:lumMod val="100000"/>
                  </a:srgbClr>
                </a:solidFill>
              </a:rPr>
              <a:t>Delegation of authority</a:t>
            </a:r>
          </a:p>
          <a:p>
            <a:pPr marL="259200" lvl="1" indent="-172800">
              <a:buClr>
                <a:srgbClr val="7F7F7F">
                  <a:lumMod val="100000"/>
                </a:srgbClr>
              </a:buClr>
            </a:pPr>
            <a:r>
              <a:rPr lang="en-US" sz="1600" dirty="0">
                <a:solidFill>
                  <a:srgbClr val="7F7F7F">
                    <a:lumMod val="100000"/>
                  </a:srgbClr>
                </a:solidFill>
              </a:rPr>
              <a:t>Autonomy levels defined in </a:t>
            </a:r>
            <a:r>
              <a:rPr lang="en-US" sz="1600" dirty="0" err="1">
                <a:solidFill>
                  <a:srgbClr val="7F7F7F">
                    <a:lumMod val="100000"/>
                  </a:srgbClr>
                </a:solidFill>
              </a:rPr>
              <a:t>JOA</a:t>
            </a:r>
            <a:endParaRPr lang="en-US" sz="1600" dirty="0">
              <a:solidFill>
                <a:srgbClr val="7F7F7F">
                  <a:lumMod val="100000"/>
                </a:srgbClr>
              </a:solidFill>
            </a:endParaRPr>
          </a:p>
        </p:txBody>
      </p:sp>
      <p:sp>
        <p:nvSpPr>
          <p:cNvPr id="36" name="ee4pFootnotes"/>
          <p:cNvSpPr>
            <a:spLocks noChangeArrowheads="1"/>
          </p:cNvSpPr>
          <p:nvPr/>
        </p:nvSpPr>
        <p:spPr bwMode="auto">
          <a:xfrm>
            <a:off x="629998" y="6657246"/>
            <a:ext cx="841875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  <p:sp>
        <p:nvSpPr>
          <p:cNvPr id="37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8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9" name="NavigationIcon"/>
          <p:cNvSpPr>
            <a:spLocks noChangeAspect="1"/>
          </p:cNvSpPr>
          <p:nvPr/>
        </p:nvSpPr>
        <p:spPr bwMode="auto">
          <a:xfrm>
            <a:off x="11737636" y="132877"/>
            <a:ext cx="271576" cy="365760"/>
          </a:xfrm>
          <a:custGeom>
            <a:avLst/>
            <a:gdLst>
              <a:gd name="connsiteX0" fmla="*/ 926427 w 999551"/>
              <a:gd name="connsiteY0" fmla="*/ 1074664 h 1346201"/>
              <a:gd name="connsiteX1" fmla="*/ 915066 w 999551"/>
              <a:gd name="connsiteY1" fmla="*/ 1078848 h 1346201"/>
              <a:gd name="connsiteX2" fmla="*/ 898607 w 999551"/>
              <a:gd name="connsiteY2" fmla="*/ 1094518 h 1346201"/>
              <a:gd name="connsiteX3" fmla="*/ 867121 w 999551"/>
              <a:gd name="connsiteY3" fmla="*/ 1124433 h 1346201"/>
              <a:gd name="connsiteX4" fmla="*/ 764073 w 999551"/>
              <a:gd name="connsiteY4" fmla="*/ 1223437 h 1346201"/>
              <a:gd name="connsiteX5" fmla="*/ 695375 w 999551"/>
              <a:gd name="connsiteY5" fmla="*/ 1155060 h 1346201"/>
              <a:gd name="connsiteX6" fmla="*/ 673191 w 999551"/>
              <a:gd name="connsiteY6" fmla="*/ 1155060 h 1346201"/>
              <a:gd name="connsiteX7" fmla="*/ 673191 w 999551"/>
              <a:gd name="connsiteY7" fmla="*/ 1177140 h 1346201"/>
              <a:gd name="connsiteX8" fmla="*/ 752623 w 999551"/>
              <a:gd name="connsiteY8" fmla="*/ 1256202 h 1346201"/>
              <a:gd name="connsiteX9" fmla="*/ 763357 w 999551"/>
              <a:gd name="connsiteY9" fmla="*/ 1260475 h 1346201"/>
              <a:gd name="connsiteX10" fmla="*/ 774092 w 999551"/>
              <a:gd name="connsiteY10" fmla="*/ 1256202 h 1346201"/>
              <a:gd name="connsiteX11" fmla="*/ 867121 w 999551"/>
              <a:gd name="connsiteY11" fmla="*/ 1167881 h 1346201"/>
              <a:gd name="connsiteX12" fmla="*/ 898607 w 999551"/>
              <a:gd name="connsiteY12" fmla="*/ 1137966 h 1346201"/>
              <a:gd name="connsiteX13" fmla="*/ 936535 w 999551"/>
              <a:gd name="connsiteY13" fmla="*/ 1101641 h 1346201"/>
              <a:gd name="connsiteX14" fmla="*/ 937250 w 999551"/>
              <a:gd name="connsiteY14" fmla="*/ 1079560 h 1346201"/>
              <a:gd name="connsiteX15" fmla="*/ 926427 w 999551"/>
              <a:gd name="connsiteY15" fmla="*/ 1074664 h 1346201"/>
              <a:gd name="connsiteX16" fmla="*/ 152230 w 999551"/>
              <a:gd name="connsiteY16" fmla="*/ 1057275 h 1346201"/>
              <a:gd name="connsiteX17" fmla="*/ 604838 w 999551"/>
              <a:gd name="connsiteY17" fmla="*/ 1057275 h 1346201"/>
              <a:gd name="connsiteX18" fmla="*/ 592702 w 999551"/>
              <a:gd name="connsiteY18" fmla="*/ 1089025 h 1346201"/>
              <a:gd name="connsiteX19" fmla="*/ 152230 w 999551"/>
              <a:gd name="connsiteY19" fmla="*/ 1089025 h 1346201"/>
              <a:gd name="connsiteX20" fmla="*/ 136525 w 999551"/>
              <a:gd name="connsiteY20" fmla="*/ 1073150 h 1346201"/>
              <a:gd name="connsiteX21" fmla="*/ 152230 w 999551"/>
              <a:gd name="connsiteY21" fmla="*/ 1057275 h 1346201"/>
              <a:gd name="connsiteX22" fmla="*/ 806847 w 999551"/>
              <a:gd name="connsiteY22" fmla="*/ 960438 h 1346201"/>
              <a:gd name="connsiteX23" fmla="*/ 867569 w 999551"/>
              <a:gd name="connsiteY23" fmla="*/ 970439 h 1346201"/>
              <a:gd name="connsiteX24" fmla="*/ 899002 w 999551"/>
              <a:gd name="connsiteY24" fmla="*/ 984013 h 1346201"/>
              <a:gd name="connsiteX25" fmla="*/ 945436 w 999551"/>
              <a:gd name="connsiteY25" fmla="*/ 1019731 h 1346201"/>
              <a:gd name="connsiteX26" fmla="*/ 956866 w 999551"/>
              <a:gd name="connsiteY26" fmla="*/ 1274764 h 1346201"/>
              <a:gd name="connsiteX27" fmla="*/ 940436 w 999551"/>
              <a:gd name="connsiteY27" fmla="*/ 1292623 h 1346201"/>
              <a:gd name="connsiteX28" fmla="*/ 924719 w 999551"/>
              <a:gd name="connsiteY28" fmla="*/ 1306196 h 1346201"/>
              <a:gd name="connsiteX29" fmla="*/ 924005 w 999551"/>
              <a:gd name="connsiteY29" fmla="*/ 1306196 h 1346201"/>
              <a:gd name="connsiteX30" fmla="*/ 806847 w 999551"/>
              <a:gd name="connsiteY30" fmla="*/ 1346201 h 1346201"/>
              <a:gd name="connsiteX31" fmla="*/ 688975 w 999551"/>
              <a:gd name="connsiteY31" fmla="*/ 1306196 h 1346201"/>
              <a:gd name="connsiteX32" fmla="*/ 667544 w 999551"/>
              <a:gd name="connsiteY32" fmla="*/ 1287622 h 1346201"/>
              <a:gd name="connsiteX33" fmla="*/ 656828 w 999551"/>
              <a:gd name="connsiteY33" fmla="*/ 1274764 h 1346201"/>
              <a:gd name="connsiteX34" fmla="*/ 625396 w 999551"/>
              <a:gd name="connsiteY34" fmla="*/ 1088311 h 1346201"/>
              <a:gd name="connsiteX35" fmla="*/ 639683 w 999551"/>
              <a:gd name="connsiteY35" fmla="*/ 1056879 h 1346201"/>
              <a:gd name="connsiteX36" fmla="*/ 673259 w 999551"/>
              <a:gd name="connsiteY36" fmla="*/ 1014731 h 1346201"/>
              <a:gd name="connsiteX37" fmla="*/ 740410 w 999551"/>
              <a:gd name="connsiteY37" fmla="*/ 972583 h 1346201"/>
              <a:gd name="connsiteX38" fmla="*/ 760413 w 999551"/>
              <a:gd name="connsiteY38" fmla="*/ 966153 h 1346201"/>
              <a:gd name="connsiteX39" fmla="*/ 806847 w 999551"/>
              <a:gd name="connsiteY39" fmla="*/ 960438 h 1346201"/>
              <a:gd name="connsiteX40" fmla="*/ 152218 w 999551"/>
              <a:gd name="connsiteY40" fmla="*/ 941388 h 1346201"/>
              <a:gd name="connsiteX41" fmla="*/ 735013 w 999551"/>
              <a:gd name="connsiteY41" fmla="*/ 941388 h 1346201"/>
              <a:gd name="connsiteX42" fmla="*/ 674380 w 999551"/>
              <a:gd name="connsiteY42" fmla="*/ 973138 h 1346201"/>
              <a:gd name="connsiteX43" fmla="*/ 152218 w 999551"/>
              <a:gd name="connsiteY43" fmla="*/ 973138 h 1346201"/>
              <a:gd name="connsiteX44" fmla="*/ 136525 w 999551"/>
              <a:gd name="connsiteY44" fmla="*/ 957263 h 1346201"/>
              <a:gd name="connsiteX45" fmla="*/ 152218 w 999551"/>
              <a:gd name="connsiteY45" fmla="*/ 941388 h 1346201"/>
              <a:gd name="connsiteX46" fmla="*/ 152237 w 999551"/>
              <a:gd name="connsiteY46" fmla="*/ 825500 h 1346201"/>
              <a:gd name="connsiteX47" fmla="*/ 747876 w 999551"/>
              <a:gd name="connsiteY47" fmla="*/ 825500 h 1346201"/>
              <a:gd name="connsiteX48" fmla="*/ 763588 w 999551"/>
              <a:gd name="connsiteY48" fmla="*/ 841375 h 1346201"/>
              <a:gd name="connsiteX49" fmla="*/ 747876 w 999551"/>
              <a:gd name="connsiteY49" fmla="*/ 857250 h 1346201"/>
              <a:gd name="connsiteX50" fmla="*/ 152237 w 999551"/>
              <a:gd name="connsiteY50" fmla="*/ 857250 h 1346201"/>
              <a:gd name="connsiteX51" fmla="*/ 136525 w 999551"/>
              <a:gd name="connsiteY51" fmla="*/ 841375 h 1346201"/>
              <a:gd name="connsiteX52" fmla="*/ 152237 w 999551"/>
              <a:gd name="connsiteY52" fmla="*/ 825500 h 1346201"/>
              <a:gd name="connsiteX53" fmla="*/ 152237 w 999551"/>
              <a:gd name="connsiteY53" fmla="*/ 709613 h 1346201"/>
              <a:gd name="connsiteX54" fmla="*/ 747876 w 999551"/>
              <a:gd name="connsiteY54" fmla="*/ 709613 h 1346201"/>
              <a:gd name="connsiteX55" fmla="*/ 763588 w 999551"/>
              <a:gd name="connsiteY55" fmla="*/ 725488 h 1346201"/>
              <a:gd name="connsiteX56" fmla="*/ 747876 w 999551"/>
              <a:gd name="connsiteY56" fmla="*/ 741363 h 1346201"/>
              <a:gd name="connsiteX57" fmla="*/ 152237 w 999551"/>
              <a:gd name="connsiteY57" fmla="*/ 741363 h 1346201"/>
              <a:gd name="connsiteX58" fmla="*/ 136525 w 999551"/>
              <a:gd name="connsiteY58" fmla="*/ 725488 h 1346201"/>
              <a:gd name="connsiteX59" fmla="*/ 152237 w 999551"/>
              <a:gd name="connsiteY59" fmla="*/ 709613 h 1346201"/>
              <a:gd name="connsiteX60" fmla="*/ 152237 w 999551"/>
              <a:gd name="connsiteY60" fmla="*/ 593725 h 1346201"/>
              <a:gd name="connsiteX61" fmla="*/ 747876 w 999551"/>
              <a:gd name="connsiteY61" fmla="*/ 593725 h 1346201"/>
              <a:gd name="connsiteX62" fmla="*/ 763588 w 999551"/>
              <a:gd name="connsiteY62" fmla="*/ 609600 h 1346201"/>
              <a:gd name="connsiteX63" fmla="*/ 747876 w 999551"/>
              <a:gd name="connsiteY63" fmla="*/ 625475 h 1346201"/>
              <a:gd name="connsiteX64" fmla="*/ 152237 w 999551"/>
              <a:gd name="connsiteY64" fmla="*/ 625475 h 1346201"/>
              <a:gd name="connsiteX65" fmla="*/ 136525 w 999551"/>
              <a:gd name="connsiteY65" fmla="*/ 609600 h 1346201"/>
              <a:gd name="connsiteX66" fmla="*/ 152237 w 999551"/>
              <a:gd name="connsiteY66" fmla="*/ 593725 h 1346201"/>
              <a:gd name="connsiteX67" fmla="*/ 152237 w 999551"/>
              <a:gd name="connsiteY67" fmla="*/ 477838 h 1346201"/>
              <a:gd name="connsiteX68" fmla="*/ 747876 w 999551"/>
              <a:gd name="connsiteY68" fmla="*/ 477838 h 1346201"/>
              <a:gd name="connsiteX69" fmla="*/ 763588 w 999551"/>
              <a:gd name="connsiteY69" fmla="*/ 493713 h 1346201"/>
              <a:gd name="connsiteX70" fmla="*/ 747876 w 999551"/>
              <a:gd name="connsiteY70" fmla="*/ 509588 h 1346201"/>
              <a:gd name="connsiteX71" fmla="*/ 152237 w 999551"/>
              <a:gd name="connsiteY71" fmla="*/ 509588 h 1346201"/>
              <a:gd name="connsiteX72" fmla="*/ 136525 w 999551"/>
              <a:gd name="connsiteY72" fmla="*/ 493713 h 1346201"/>
              <a:gd name="connsiteX73" fmla="*/ 152237 w 999551"/>
              <a:gd name="connsiteY73" fmla="*/ 477838 h 1346201"/>
              <a:gd name="connsiteX74" fmla="*/ 152237 w 999551"/>
              <a:gd name="connsiteY74" fmla="*/ 361950 h 1346201"/>
              <a:gd name="connsiteX75" fmla="*/ 747876 w 999551"/>
              <a:gd name="connsiteY75" fmla="*/ 361950 h 1346201"/>
              <a:gd name="connsiteX76" fmla="*/ 763588 w 999551"/>
              <a:gd name="connsiteY76" fmla="*/ 377825 h 1346201"/>
              <a:gd name="connsiteX77" fmla="*/ 747876 w 999551"/>
              <a:gd name="connsiteY77" fmla="*/ 393700 h 1346201"/>
              <a:gd name="connsiteX78" fmla="*/ 152237 w 999551"/>
              <a:gd name="connsiteY78" fmla="*/ 393700 h 1346201"/>
              <a:gd name="connsiteX79" fmla="*/ 136525 w 999551"/>
              <a:gd name="connsiteY79" fmla="*/ 377825 h 1346201"/>
              <a:gd name="connsiteX80" fmla="*/ 152237 w 999551"/>
              <a:gd name="connsiteY80" fmla="*/ 361950 h 1346201"/>
              <a:gd name="connsiteX81" fmla="*/ 625475 w 999551"/>
              <a:gd name="connsiteY81" fmla="*/ 114300 h 1346201"/>
              <a:gd name="connsiteX82" fmla="*/ 882800 w 999551"/>
              <a:gd name="connsiteY82" fmla="*/ 114300 h 1346201"/>
              <a:gd name="connsiteX83" fmla="*/ 898525 w 999551"/>
              <a:gd name="connsiteY83" fmla="*/ 130001 h 1346201"/>
              <a:gd name="connsiteX84" fmla="*/ 898525 w 999551"/>
              <a:gd name="connsiteY84" fmla="*/ 949325 h 1346201"/>
              <a:gd name="connsiteX85" fmla="*/ 867074 w 999551"/>
              <a:gd name="connsiteY85" fmla="*/ 937906 h 1346201"/>
              <a:gd name="connsiteX86" fmla="*/ 867074 w 999551"/>
              <a:gd name="connsiteY86" fmla="*/ 145703 h 1346201"/>
              <a:gd name="connsiteX87" fmla="*/ 625475 w 999551"/>
              <a:gd name="connsiteY87" fmla="*/ 145703 h 1346201"/>
              <a:gd name="connsiteX88" fmla="*/ 625475 w 999551"/>
              <a:gd name="connsiteY88" fmla="*/ 114300 h 1346201"/>
              <a:gd name="connsiteX89" fmla="*/ 15734 w 999551"/>
              <a:gd name="connsiteY89" fmla="*/ 114300 h 1346201"/>
              <a:gd name="connsiteX90" fmla="*/ 273195 w 999551"/>
              <a:gd name="connsiteY90" fmla="*/ 114300 h 1346201"/>
              <a:gd name="connsiteX91" fmla="*/ 273195 w 999551"/>
              <a:gd name="connsiteY91" fmla="*/ 145712 h 1346201"/>
              <a:gd name="connsiteX92" fmla="*/ 31468 w 999551"/>
              <a:gd name="connsiteY92" fmla="*/ 145712 h 1346201"/>
              <a:gd name="connsiteX93" fmla="*/ 31468 w 999551"/>
              <a:gd name="connsiteY93" fmla="*/ 1275102 h 1346201"/>
              <a:gd name="connsiteX94" fmla="*/ 618622 w 999551"/>
              <a:gd name="connsiteY94" fmla="*/ 1275102 h 1346201"/>
              <a:gd name="connsiteX95" fmla="*/ 642938 w 999551"/>
              <a:gd name="connsiteY95" fmla="*/ 1306513 h 1346201"/>
              <a:gd name="connsiteX96" fmla="*/ 15734 w 999551"/>
              <a:gd name="connsiteY96" fmla="*/ 1306513 h 1346201"/>
              <a:gd name="connsiteX97" fmla="*/ 0 w 999551"/>
              <a:gd name="connsiteY97" fmla="*/ 1290807 h 1346201"/>
              <a:gd name="connsiteX98" fmla="*/ 0 w 999551"/>
              <a:gd name="connsiteY98" fmla="*/ 130006 h 1346201"/>
              <a:gd name="connsiteX99" fmla="*/ 15734 w 999551"/>
              <a:gd name="connsiteY99" fmla="*/ 114300 h 1346201"/>
              <a:gd name="connsiteX100" fmla="*/ 449263 w 999551"/>
              <a:gd name="connsiteY100" fmla="*/ 31750 h 1346201"/>
              <a:gd name="connsiteX101" fmla="*/ 427180 w 999551"/>
              <a:gd name="connsiteY101" fmla="*/ 35314 h 1346201"/>
              <a:gd name="connsiteX102" fmla="*/ 393700 w 999551"/>
              <a:gd name="connsiteY102" fmla="*/ 66675 h 1346201"/>
              <a:gd name="connsiteX103" fmla="*/ 504825 w 999551"/>
              <a:gd name="connsiteY103" fmla="*/ 66675 h 1346201"/>
              <a:gd name="connsiteX104" fmla="*/ 471345 w 999551"/>
              <a:gd name="connsiteY104" fmla="*/ 35314 h 1346201"/>
              <a:gd name="connsiteX105" fmla="*/ 449263 w 999551"/>
              <a:gd name="connsiteY105" fmla="*/ 31750 h 1346201"/>
              <a:gd name="connsiteX106" fmla="*/ 449262 w 999551"/>
              <a:gd name="connsiteY106" fmla="*/ 0 h 1346201"/>
              <a:gd name="connsiteX107" fmla="*/ 522287 w 999551"/>
              <a:gd name="connsiteY107" fmla="*/ 34890 h 1346201"/>
              <a:gd name="connsiteX108" fmla="*/ 538754 w 999551"/>
              <a:gd name="connsiteY108" fmla="*/ 66220 h 1346201"/>
              <a:gd name="connsiteX109" fmla="*/ 588153 w 999551"/>
              <a:gd name="connsiteY109" fmla="*/ 66220 h 1346201"/>
              <a:gd name="connsiteX110" fmla="*/ 595312 w 999551"/>
              <a:gd name="connsiteY110" fmla="*/ 73340 h 1346201"/>
              <a:gd name="connsiteX111" fmla="*/ 595312 w 999551"/>
              <a:gd name="connsiteY111" fmla="*/ 113927 h 1346201"/>
              <a:gd name="connsiteX112" fmla="*/ 595312 w 999551"/>
              <a:gd name="connsiteY112" fmla="*/ 145256 h 1346201"/>
              <a:gd name="connsiteX113" fmla="*/ 595312 w 999551"/>
              <a:gd name="connsiteY113" fmla="*/ 178010 h 1346201"/>
              <a:gd name="connsiteX114" fmla="*/ 579562 w 999551"/>
              <a:gd name="connsiteY114" fmla="*/ 193675 h 1346201"/>
              <a:gd name="connsiteX115" fmla="*/ 318963 w 999551"/>
              <a:gd name="connsiteY115" fmla="*/ 193675 h 1346201"/>
              <a:gd name="connsiteX116" fmla="*/ 303212 w 999551"/>
              <a:gd name="connsiteY116" fmla="*/ 178010 h 1346201"/>
              <a:gd name="connsiteX117" fmla="*/ 303212 w 999551"/>
              <a:gd name="connsiteY117" fmla="*/ 145256 h 1346201"/>
              <a:gd name="connsiteX118" fmla="*/ 303212 w 999551"/>
              <a:gd name="connsiteY118" fmla="*/ 113927 h 1346201"/>
              <a:gd name="connsiteX119" fmla="*/ 303212 w 999551"/>
              <a:gd name="connsiteY119" fmla="*/ 73340 h 1346201"/>
              <a:gd name="connsiteX120" fmla="*/ 310372 w 999551"/>
              <a:gd name="connsiteY120" fmla="*/ 66220 h 1346201"/>
              <a:gd name="connsiteX121" fmla="*/ 359771 w 999551"/>
              <a:gd name="connsiteY121" fmla="*/ 66220 h 1346201"/>
              <a:gd name="connsiteX122" fmla="*/ 376237 w 999551"/>
              <a:gd name="connsiteY122" fmla="*/ 34890 h 1346201"/>
              <a:gd name="connsiteX123" fmla="*/ 449262 w 999551"/>
              <a:gd name="connsiteY123" fmla="*/ 0 h 134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999551" h="1346201">
                <a:moveTo>
                  <a:pt x="926427" y="1074664"/>
                </a:moveTo>
                <a:cubicBezTo>
                  <a:pt x="922401" y="1074575"/>
                  <a:pt x="918286" y="1075999"/>
                  <a:pt x="915066" y="1078848"/>
                </a:cubicBezTo>
                <a:cubicBezTo>
                  <a:pt x="915066" y="1078848"/>
                  <a:pt x="915066" y="1078848"/>
                  <a:pt x="898607" y="1094518"/>
                </a:cubicBezTo>
                <a:cubicBezTo>
                  <a:pt x="898607" y="1094518"/>
                  <a:pt x="898607" y="1094518"/>
                  <a:pt x="867121" y="1124433"/>
                </a:cubicBezTo>
                <a:cubicBezTo>
                  <a:pt x="867121" y="1124433"/>
                  <a:pt x="867121" y="1124433"/>
                  <a:pt x="764073" y="1223437"/>
                </a:cubicBezTo>
                <a:cubicBezTo>
                  <a:pt x="764073" y="1223437"/>
                  <a:pt x="764073" y="1223437"/>
                  <a:pt x="695375" y="1155060"/>
                </a:cubicBezTo>
                <a:cubicBezTo>
                  <a:pt x="688934" y="1148650"/>
                  <a:pt x="678916" y="1148650"/>
                  <a:pt x="673191" y="1155060"/>
                </a:cubicBezTo>
                <a:cubicBezTo>
                  <a:pt x="666750" y="1160758"/>
                  <a:pt x="666750" y="1170730"/>
                  <a:pt x="673191" y="1177140"/>
                </a:cubicBezTo>
                <a:cubicBezTo>
                  <a:pt x="673191" y="1177140"/>
                  <a:pt x="673191" y="1177140"/>
                  <a:pt x="752623" y="1256202"/>
                </a:cubicBezTo>
                <a:cubicBezTo>
                  <a:pt x="755486" y="1259051"/>
                  <a:pt x="759779" y="1260475"/>
                  <a:pt x="763357" y="1260475"/>
                </a:cubicBezTo>
                <a:cubicBezTo>
                  <a:pt x="767651" y="1260475"/>
                  <a:pt x="771229" y="1259051"/>
                  <a:pt x="774092" y="1256202"/>
                </a:cubicBezTo>
                <a:cubicBezTo>
                  <a:pt x="774092" y="1256202"/>
                  <a:pt x="774092" y="1256202"/>
                  <a:pt x="867121" y="1167881"/>
                </a:cubicBezTo>
                <a:cubicBezTo>
                  <a:pt x="867121" y="1167881"/>
                  <a:pt x="867121" y="1167881"/>
                  <a:pt x="898607" y="1137966"/>
                </a:cubicBezTo>
                <a:cubicBezTo>
                  <a:pt x="898607" y="1137966"/>
                  <a:pt x="898607" y="1137966"/>
                  <a:pt x="936535" y="1101641"/>
                </a:cubicBezTo>
                <a:cubicBezTo>
                  <a:pt x="942975" y="1095943"/>
                  <a:pt x="942975" y="1085971"/>
                  <a:pt x="937250" y="1079560"/>
                </a:cubicBezTo>
                <a:cubicBezTo>
                  <a:pt x="934388" y="1076355"/>
                  <a:pt x="930452" y="1074753"/>
                  <a:pt x="926427" y="1074664"/>
                </a:cubicBezTo>
                <a:close/>
                <a:moveTo>
                  <a:pt x="152230" y="1057275"/>
                </a:moveTo>
                <a:cubicBezTo>
                  <a:pt x="152230" y="1057275"/>
                  <a:pt x="152230" y="1057275"/>
                  <a:pt x="604838" y="1057275"/>
                </a:cubicBezTo>
                <a:cubicBezTo>
                  <a:pt x="599841" y="1067377"/>
                  <a:pt x="595557" y="1078201"/>
                  <a:pt x="592702" y="1089025"/>
                </a:cubicBezTo>
                <a:cubicBezTo>
                  <a:pt x="592702" y="1089025"/>
                  <a:pt x="592702" y="1089025"/>
                  <a:pt x="152230" y="1089025"/>
                </a:cubicBezTo>
                <a:cubicBezTo>
                  <a:pt x="142950" y="1089025"/>
                  <a:pt x="136525" y="1081809"/>
                  <a:pt x="136525" y="1073150"/>
                </a:cubicBezTo>
                <a:cubicBezTo>
                  <a:pt x="136525" y="1064491"/>
                  <a:pt x="142950" y="1057275"/>
                  <a:pt x="152230" y="1057275"/>
                </a:cubicBezTo>
                <a:close/>
                <a:moveTo>
                  <a:pt x="806847" y="960438"/>
                </a:moveTo>
                <a:cubicBezTo>
                  <a:pt x="827564" y="960438"/>
                  <a:pt x="848281" y="964010"/>
                  <a:pt x="867569" y="970439"/>
                </a:cubicBezTo>
                <a:cubicBezTo>
                  <a:pt x="878999" y="974011"/>
                  <a:pt x="889001" y="979012"/>
                  <a:pt x="899002" y="984013"/>
                </a:cubicBezTo>
                <a:cubicBezTo>
                  <a:pt x="916147" y="993299"/>
                  <a:pt x="931863" y="1005444"/>
                  <a:pt x="945436" y="1019731"/>
                </a:cubicBezTo>
                <a:cubicBezTo>
                  <a:pt x="1013302" y="1089740"/>
                  <a:pt x="1017588" y="1199754"/>
                  <a:pt x="956866" y="1274764"/>
                </a:cubicBezTo>
                <a:cubicBezTo>
                  <a:pt x="951866" y="1281193"/>
                  <a:pt x="946151" y="1286908"/>
                  <a:pt x="940436" y="1292623"/>
                </a:cubicBezTo>
                <a:cubicBezTo>
                  <a:pt x="934006" y="1298338"/>
                  <a:pt x="929720" y="1302624"/>
                  <a:pt x="924719" y="1306196"/>
                </a:cubicBezTo>
                <a:cubicBezTo>
                  <a:pt x="924719" y="1306196"/>
                  <a:pt x="924719" y="1306196"/>
                  <a:pt x="924005" y="1306196"/>
                </a:cubicBezTo>
                <a:cubicBezTo>
                  <a:pt x="891144" y="1331914"/>
                  <a:pt x="848996" y="1346201"/>
                  <a:pt x="806847" y="1346201"/>
                </a:cubicBezTo>
                <a:cubicBezTo>
                  <a:pt x="763270" y="1346201"/>
                  <a:pt x="722551" y="1332628"/>
                  <a:pt x="688975" y="1306196"/>
                </a:cubicBezTo>
                <a:cubicBezTo>
                  <a:pt x="681832" y="1300481"/>
                  <a:pt x="674688" y="1294052"/>
                  <a:pt x="667544" y="1287622"/>
                </a:cubicBezTo>
                <a:cubicBezTo>
                  <a:pt x="663972" y="1283336"/>
                  <a:pt x="660400" y="1279050"/>
                  <a:pt x="656828" y="1274764"/>
                </a:cubicBezTo>
                <a:cubicBezTo>
                  <a:pt x="613252" y="1221900"/>
                  <a:pt x="603250" y="1150462"/>
                  <a:pt x="625396" y="1088311"/>
                </a:cubicBezTo>
                <a:cubicBezTo>
                  <a:pt x="628968" y="1077596"/>
                  <a:pt x="633968" y="1066880"/>
                  <a:pt x="639683" y="1056879"/>
                </a:cubicBezTo>
                <a:cubicBezTo>
                  <a:pt x="648970" y="1041877"/>
                  <a:pt x="659686" y="1027589"/>
                  <a:pt x="673259" y="1014731"/>
                </a:cubicBezTo>
                <a:cubicBezTo>
                  <a:pt x="692547" y="995443"/>
                  <a:pt x="715407" y="981155"/>
                  <a:pt x="740410" y="972583"/>
                </a:cubicBezTo>
                <a:cubicBezTo>
                  <a:pt x="746840" y="969725"/>
                  <a:pt x="753269" y="968296"/>
                  <a:pt x="760413" y="966153"/>
                </a:cubicBezTo>
                <a:cubicBezTo>
                  <a:pt x="775415" y="962581"/>
                  <a:pt x="791131" y="960438"/>
                  <a:pt x="806847" y="960438"/>
                </a:cubicBezTo>
                <a:close/>
                <a:moveTo>
                  <a:pt x="152218" y="941388"/>
                </a:moveTo>
                <a:cubicBezTo>
                  <a:pt x="152218" y="941388"/>
                  <a:pt x="152218" y="941388"/>
                  <a:pt x="735013" y="941388"/>
                </a:cubicBezTo>
                <a:cubicBezTo>
                  <a:pt x="712900" y="948604"/>
                  <a:pt x="692926" y="959428"/>
                  <a:pt x="674380" y="973138"/>
                </a:cubicBezTo>
                <a:cubicBezTo>
                  <a:pt x="674380" y="973138"/>
                  <a:pt x="674380" y="973138"/>
                  <a:pt x="152218" y="973138"/>
                </a:cubicBezTo>
                <a:cubicBezTo>
                  <a:pt x="142945" y="973138"/>
                  <a:pt x="136525" y="965922"/>
                  <a:pt x="136525" y="957263"/>
                </a:cubicBezTo>
                <a:cubicBezTo>
                  <a:pt x="136525" y="948604"/>
                  <a:pt x="142945" y="941388"/>
                  <a:pt x="152218" y="941388"/>
                </a:cubicBezTo>
                <a:close/>
                <a:moveTo>
                  <a:pt x="152237" y="825500"/>
                </a:moveTo>
                <a:cubicBezTo>
                  <a:pt x="152237" y="825500"/>
                  <a:pt x="152237" y="825500"/>
                  <a:pt x="747876" y="825500"/>
                </a:cubicBezTo>
                <a:cubicBezTo>
                  <a:pt x="757160" y="825500"/>
                  <a:pt x="763588" y="832716"/>
                  <a:pt x="763588" y="841375"/>
                </a:cubicBezTo>
                <a:cubicBezTo>
                  <a:pt x="763588" y="850756"/>
                  <a:pt x="757160" y="857250"/>
                  <a:pt x="747876" y="857250"/>
                </a:cubicBezTo>
                <a:cubicBezTo>
                  <a:pt x="747876" y="857250"/>
                  <a:pt x="747876" y="857250"/>
                  <a:pt x="152237" y="857250"/>
                </a:cubicBezTo>
                <a:cubicBezTo>
                  <a:pt x="142953" y="857250"/>
                  <a:pt x="136525" y="850756"/>
                  <a:pt x="136525" y="841375"/>
                </a:cubicBezTo>
                <a:cubicBezTo>
                  <a:pt x="136525" y="832716"/>
                  <a:pt x="142953" y="825500"/>
                  <a:pt x="152237" y="825500"/>
                </a:cubicBezTo>
                <a:close/>
                <a:moveTo>
                  <a:pt x="152237" y="709613"/>
                </a:moveTo>
                <a:cubicBezTo>
                  <a:pt x="152237" y="709613"/>
                  <a:pt x="152237" y="709613"/>
                  <a:pt x="747876" y="709613"/>
                </a:cubicBezTo>
                <a:cubicBezTo>
                  <a:pt x="757160" y="709613"/>
                  <a:pt x="763588" y="716829"/>
                  <a:pt x="763588" y="725488"/>
                </a:cubicBezTo>
                <a:cubicBezTo>
                  <a:pt x="763588" y="734147"/>
                  <a:pt x="757160" y="741363"/>
                  <a:pt x="747876" y="741363"/>
                </a:cubicBezTo>
                <a:cubicBezTo>
                  <a:pt x="747876" y="741363"/>
                  <a:pt x="747876" y="741363"/>
                  <a:pt x="152237" y="741363"/>
                </a:cubicBezTo>
                <a:cubicBezTo>
                  <a:pt x="142953" y="741363"/>
                  <a:pt x="136525" y="734147"/>
                  <a:pt x="136525" y="725488"/>
                </a:cubicBezTo>
                <a:cubicBezTo>
                  <a:pt x="136525" y="716829"/>
                  <a:pt x="142953" y="709613"/>
                  <a:pt x="152237" y="709613"/>
                </a:cubicBezTo>
                <a:close/>
                <a:moveTo>
                  <a:pt x="152237" y="593725"/>
                </a:moveTo>
                <a:cubicBezTo>
                  <a:pt x="152237" y="593725"/>
                  <a:pt x="152237" y="593725"/>
                  <a:pt x="747876" y="593725"/>
                </a:cubicBezTo>
                <a:cubicBezTo>
                  <a:pt x="757160" y="593725"/>
                  <a:pt x="763588" y="600941"/>
                  <a:pt x="763588" y="609600"/>
                </a:cubicBezTo>
                <a:cubicBezTo>
                  <a:pt x="763588" y="618259"/>
                  <a:pt x="757160" y="625475"/>
                  <a:pt x="747876" y="625475"/>
                </a:cubicBezTo>
                <a:cubicBezTo>
                  <a:pt x="747876" y="625475"/>
                  <a:pt x="747876" y="625475"/>
                  <a:pt x="152237" y="625475"/>
                </a:cubicBezTo>
                <a:cubicBezTo>
                  <a:pt x="142953" y="625475"/>
                  <a:pt x="136525" y="618259"/>
                  <a:pt x="136525" y="609600"/>
                </a:cubicBezTo>
                <a:cubicBezTo>
                  <a:pt x="136525" y="600941"/>
                  <a:pt x="142953" y="593725"/>
                  <a:pt x="152237" y="593725"/>
                </a:cubicBezTo>
                <a:close/>
                <a:moveTo>
                  <a:pt x="152237" y="477838"/>
                </a:moveTo>
                <a:cubicBezTo>
                  <a:pt x="152237" y="477838"/>
                  <a:pt x="152237" y="477838"/>
                  <a:pt x="747876" y="477838"/>
                </a:cubicBezTo>
                <a:cubicBezTo>
                  <a:pt x="757160" y="477838"/>
                  <a:pt x="763588" y="484332"/>
                  <a:pt x="763588" y="493713"/>
                </a:cubicBezTo>
                <a:cubicBezTo>
                  <a:pt x="763588" y="502372"/>
                  <a:pt x="757160" y="509588"/>
                  <a:pt x="747876" y="509588"/>
                </a:cubicBezTo>
                <a:cubicBezTo>
                  <a:pt x="747876" y="509588"/>
                  <a:pt x="747876" y="509588"/>
                  <a:pt x="152237" y="509588"/>
                </a:cubicBezTo>
                <a:cubicBezTo>
                  <a:pt x="142953" y="509588"/>
                  <a:pt x="136525" y="502372"/>
                  <a:pt x="136525" y="493713"/>
                </a:cubicBezTo>
                <a:cubicBezTo>
                  <a:pt x="136525" y="484332"/>
                  <a:pt x="142953" y="477838"/>
                  <a:pt x="152237" y="477838"/>
                </a:cubicBezTo>
                <a:close/>
                <a:moveTo>
                  <a:pt x="152237" y="361950"/>
                </a:moveTo>
                <a:cubicBezTo>
                  <a:pt x="152237" y="361950"/>
                  <a:pt x="152237" y="361950"/>
                  <a:pt x="747876" y="361950"/>
                </a:cubicBezTo>
                <a:cubicBezTo>
                  <a:pt x="757160" y="361950"/>
                  <a:pt x="763588" y="369166"/>
                  <a:pt x="763588" y="377825"/>
                </a:cubicBezTo>
                <a:cubicBezTo>
                  <a:pt x="763588" y="386484"/>
                  <a:pt x="757160" y="393700"/>
                  <a:pt x="747876" y="393700"/>
                </a:cubicBezTo>
                <a:cubicBezTo>
                  <a:pt x="747876" y="393700"/>
                  <a:pt x="747876" y="393700"/>
                  <a:pt x="152237" y="393700"/>
                </a:cubicBezTo>
                <a:cubicBezTo>
                  <a:pt x="142953" y="393700"/>
                  <a:pt x="136525" y="386484"/>
                  <a:pt x="136525" y="377825"/>
                </a:cubicBezTo>
                <a:cubicBezTo>
                  <a:pt x="136525" y="369166"/>
                  <a:pt x="142953" y="361950"/>
                  <a:pt x="152237" y="361950"/>
                </a:cubicBezTo>
                <a:close/>
                <a:moveTo>
                  <a:pt x="625475" y="114300"/>
                </a:moveTo>
                <a:cubicBezTo>
                  <a:pt x="625475" y="114300"/>
                  <a:pt x="625475" y="114300"/>
                  <a:pt x="882800" y="114300"/>
                </a:cubicBezTo>
                <a:cubicBezTo>
                  <a:pt x="892092" y="114300"/>
                  <a:pt x="898525" y="121437"/>
                  <a:pt x="898525" y="130001"/>
                </a:cubicBezTo>
                <a:cubicBezTo>
                  <a:pt x="898525" y="130001"/>
                  <a:pt x="898525" y="130001"/>
                  <a:pt x="898525" y="949325"/>
                </a:cubicBezTo>
                <a:cubicBezTo>
                  <a:pt x="888518" y="945043"/>
                  <a:pt x="878511" y="940761"/>
                  <a:pt x="867074" y="937906"/>
                </a:cubicBezTo>
                <a:cubicBezTo>
                  <a:pt x="867074" y="937906"/>
                  <a:pt x="867074" y="937906"/>
                  <a:pt x="867074" y="145703"/>
                </a:cubicBezTo>
                <a:cubicBezTo>
                  <a:pt x="867074" y="145703"/>
                  <a:pt x="867074" y="145703"/>
                  <a:pt x="625475" y="145703"/>
                </a:cubicBezTo>
                <a:cubicBezTo>
                  <a:pt x="625475" y="145703"/>
                  <a:pt x="625475" y="145703"/>
                  <a:pt x="625475" y="114300"/>
                </a:cubicBezTo>
                <a:close/>
                <a:moveTo>
                  <a:pt x="15734" y="114300"/>
                </a:moveTo>
                <a:cubicBezTo>
                  <a:pt x="15734" y="114300"/>
                  <a:pt x="15734" y="114300"/>
                  <a:pt x="273195" y="114300"/>
                </a:cubicBezTo>
                <a:cubicBezTo>
                  <a:pt x="273195" y="114300"/>
                  <a:pt x="273195" y="114300"/>
                  <a:pt x="273195" y="145712"/>
                </a:cubicBezTo>
                <a:cubicBezTo>
                  <a:pt x="273195" y="145712"/>
                  <a:pt x="273195" y="145712"/>
                  <a:pt x="31468" y="145712"/>
                </a:cubicBezTo>
                <a:cubicBezTo>
                  <a:pt x="31468" y="145712"/>
                  <a:pt x="31468" y="145712"/>
                  <a:pt x="31468" y="1275102"/>
                </a:cubicBezTo>
                <a:cubicBezTo>
                  <a:pt x="31468" y="1275102"/>
                  <a:pt x="31468" y="1275102"/>
                  <a:pt x="618622" y="1275102"/>
                </a:cubicBezTo>
                <a:cubicBezTo>
                  <a:pt x="625774" y="1286524"/>
                  <a:pt x="633641" y="1297232"/>
                  <a:pt x="642938" y="1306513"/>
                </a:cubicBezTo>
                <a:cubicBezTo>
                  <a:pt x="642938" y="1306513"/>
                  <a:pt x="642938" y="1306513"/>
                  <a:pt x="15734" y="1306513"/>
                </a:cubicBezTo>
                <a:cubicBezTo>
                  <a:pt x="6437" y="1306513"/>
                  <a:pt x="0" y="1300088"/>
                  <a:pt x="0" y="1290807"/>
                </a:cubicBezTo>
                <a:cubicBezTo>
                  <a:pt x="0" y="1290807"/>
                  <a:pt x="0" y="1290807"/>
                  <a:pt x="0" y="130006"/>
                </a:cubicBezTo>
                <a:cubicBezTo>
                  <a:pt x="0" y="121439"/>
                  <a:pt x="6437" y="114300"/>
                  <a:pt x="15734" y="114300"/>
                </a:cubicBezTo>
                <a:close/>
                <a:moveTo>
                  <a:pt x="449263" y="31750"/>
                </a:moveTo>
                <a:cubicBezTo>
                  <a:pt x="441427" y="31750"/>
                  <a:pt x="434304" y="33176"/>
                  <a:pt x="427180" y="35314"/>
                </a:cubicBezTo>
                <a:cubicBezTo>
                  <a:pt x="412933" y="41016"/>
                  <a:pt x="400824" y="52420"/>
                  <a:pt x="393700" y="66675"/>
                </a:cubicBezTo>
                <a:cubicBezTo>
                  <a:pt x="393700" y="66675"/>
                  <a:pt x="393700" y="66675"/>
                  <a:pt x="504825" y="66675"/>
                </a:cubicBezTo>
                <a:cubicBezTo>
                  <a:pt x="497702" y="52420"/>
                  <a:pt x="485592" y="41016"/>
                  <a:pt x="471345" y="35314"/>
                </a:cubicBezTo>
                <a:cubicBezTo>
                  <a:pt x="464222" y="33176"/>
                  <a:pt x="457098" y="31750"/>
                  <a:pt x="449263" y="31750"/>
                </a:cubicBezTo>
                <a:close/>
                <a:moveTo>
                  <a:pt x="449262" y="0"/>
                </a:moveTo>
                <a:cubicBezTo>
                  <a:pt x="478615" y="0"/>
                  <a:pt x="505105" y="13529"/>
                  <a:pt x="522287" y="34890"/>
                </a:cubicBezTo>
                <a:cubicBezTo>
                  <a:pt x="529447" y="44147"/>
                  <a:pt x="535174" y="54827"/>
                  <a:pt x="538754" y="66220"/>
                </a:cubicBezTo>
                <a:cubicBezTo>
                  <a:pt x="538754" y="66220"/>
                  <a:pt x="538754" y="66220"/>
                  <a:pt x="588153" y="66220"/>
                </a:cubicBezTo>
                <a:cubicBezTo>
                  <a:pt x="591733" y="66220"/>
                  <a:pt x="595312" y="69068"/>
                  <a:pt x="595312" y="73340"/>
                </a:cubicBezTo>
                <a:cubicBezTo>
                  <a:pt x="595312" y="73340"/>
                  <a:pt x="595312" y="73340"/>
                  <a:pt x="595312" y="113927"/>
                </a:cubicBezTo>
                <a:cubicBezTo>
                  <a:pt x="595312" y="113927"/>
                  <a:pt x="595312" y="113927"/>
                  <a:pt x="595312" y="145256"/>
                </a:cubicBezTo>
                <a:cubicBezTo>
                  <a:pt x="595312" y="145256"/>
                  <a:pt x="595312" y="145256"/>
                  <a:pt x="595312" y="178010"/>
                </a:cubicBezTo>
                <a:cubicBezTo>
                  <a:pt x="595312" y="186555"/>
                  <a:pt x="588153" y="193675"/>
                  <a:pt x="579562" y="193675"/>
                </a:cubicBezTo>
                <a:cubicBezTo>
                  <a:pt x="579562" y="193675"/>
                  <a:pt x="579562" y="193675"/>
                  <a:pt x="318963" y="193675"/>
                </a:cubicBezTo>
                <a:cubicBezTo>
                  <a:pt x="310372" y="193675"/>
                  <a:pt x="303212" y="186555"/>
                  <a:pt x="303212" y="178010"/>
                </a:cubicBezTo>
                <a:cubicBezTo>
                  <a:pt x="303212" y="178010"/>
                  <a:pt x="303212" y="178010"/>
                  <a:pt x="303212" y="145256"/>
                </a:cubicBezTo>
                <a:cubicBezTo>
                  <a:pt x="303212" y="145256"/>
                  <a:pt x="303212" y="145256"/>
                  <a:pt x="303212" y="113927"/>
                </a:cubicBezTo>
                <a:cubicBezTo>
                  <a:pt x="303212" y="113927"/>
                  <a:pt x="303212" y="113927"/>
                  <a:pt x="303212" y="73340"/>
                </a:cubicBezTo>
                <a:cubicBezTo>
                  <a:pt x="303212" y="69068"/>
                  <a:pt x="306792" y="66220"/>
                  <a:pt x="310372" y="66220"/>
                </a:cubicBezTo>
                <a:cubicBezTo>
                  <a:pt x="310372" y="66220"/>
                  <a:pt x="310372" y="66220"/>
                  <a:pt x="359771" y="66220"/>
                </a:cubicBezTo>
                <a:cubicBezTo>
                  <a:pt x="363350" y="54827"/>
                  <a:pt x="369078" y="44147"/>
                  <a:pt x="376237" y="34890"/>
                </a:cubicBezTo>
                <a:cubicBezTo>
                  <a:pt x="393420" y="13529"/>
                  <a:pt x="419909" y="0"/>
                  <a:pt x="449262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531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40" name="think-cell Slide" r:id="rId5" imgW="536" imgH="535" progId="TCLayout.ActiveDocument.1">
                  <p:embed/>
                </p:oleObj>
              </mc:Choice>
              <mc:Fallback>
                <p:oleObj name="think-cell Slide" r:id="rId5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886397"/>
          </a:xfrm>
        </p:spPr>
        <p:txBody>
          <a:bodyPr/>
          <a:lstStyle/>
          <a:p>
            <a:r>
              <a:rPr lang="en-US" sz="3200" dirty="0"/>
              <a:t>New contract management process clarifies responsibilities and promotes role segrega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942914" y="2081213"/>
            <a:ext cx="306171" cy="4079081"/>
            <a:chOff x="5942914" y="2081213"/>
            <a:chExt cx="306171" cy="4079081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/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8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9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0" name="Rectangle 9"/>
          <p:cNvSpPr/>
          <p:nvPr/>
        </p:nvSpPr>
        <p:spPr>
          <a:xfrm>
            <a:off x="630000" y="2357137"/>
            <a:ext cx="3619099" cy="3882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Current situation</a:t>
            </a:r>
          </a:p>
        </p:txBody>
      </p:sp>
      <p:sp>
        <p:nvSpPr>
          <p:cNvPr id="13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Contract Management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NavigationIcon"/>
          <p:cNvSpPr>
            <a:spLocks noChangeAspect="1"/>
          </p:cNvSpPr>
          <p:nvPr/>
        </p:nvSpPr>
        <p:spPr bwMode="auto">
          <a:xfrm>
            <a:off x="11687191" y="132877"/>
            <a:ext cx="372466" cy="365760"/>
          </a:xfrm>
          <a:custGeom>
            <a:avLst/>
            <a:gdLst>
              <a:gd name="connsiteX0" fmla="*/ 409739 w 1146175"/>
              <a:gd name="connsiteY0" fmla="*/ 615791 h 1125538"/>
              <a:gd name="connsiteX1" fmla="*/ 326138 w 1146175"/>
              <a:gd name="connsiteY1" fmla="*/ 635801 h 1125538"/>
              <a:gd name="connsiteX2" fmla="*/ 31750 w 1146175"/>
              <a:gd name="connsiteY2" fmla="*/ 803020 h 1125538"/>
              <a:gd name="connsiteX3" fmla="*/ 31750 w 1146175"/>
              <a:gd name="connsiteY3" fmla="*/ 1087437 h 1125538"/>
              <a:gd name="connsiteX4" fmla="*/ 368296 w 1146175"/>
              <a:gd name="connsiteY4" fmla="*/ 957377 h 1125538"/>
              <a:gd name="connsiteX5" fmla="*/ 419028 w 1146175"/>
              <a:gd name="connsiteY5" fmla="*/ 949516 h 1125538"/>
              <a:gd name="connsiteX6" fmla="*/ 568366 w 1146175"/>
              <a:gd name="connsiteY6" fmla="*/ 960236 h 1125538"/>
              <a:gd name="connsiteX7" fmla="*/ 797017 w 1146175"/>
              <a:gd name="connsiteY7" fmla="*/ 933795 h 1125538"/>
              <a:gd name="connsiteX8" fmla="*/ 1047818 w 1146175"/>
              <a:gd name="connsiteY8" fmla="*/ 767290 h 1125538"/>
              <a:gd name="connsiteX9" fmla="*/ 1079972 w 1146175"/>
              <a:gd name="connsiteY9" fmla="*/ 730130 h 1125538"/>
              <a:gd name="connsiteX10" fmla="*/ 1074971 w 1146175"/>
              <a:gd name="connsiteY10" fmla="*/ 655810 h 1125538"/>
              <a:gd name="connsiteX11" fmla="*/ 1036386 w 1146175"/>
              <a:gd name="connsiteY11" fmla="*/ 642232 h 1125538"/>
              <a:gd name="connsiteX12" fmla="*/ 999230 w 1146175"/>
              <a:gd name="connsiteY12" fmla="*/ 660097 h 1125538"/>
              <a:gd name="connsiteX13" fmla="*/ 951356 w 1146175"/>
              <a:gd name="connsiteY13" fmla="*/ 713694 h 1125538"/>
              <a:gd name="connsiteX14" fmla="*/ 805591 w 1146175"/>
              <a:gd name="connsiteY14" fmla="*/ 805164 h 1125538"/>
              <a:gd name="connsiteX15" fmla="*/ 608380 w 1146175"/>
              <a:gd name="connsiteY15" fmla="*/ 794445 h 1125538"/>
              <a:gd name="connsiteX16" fmla="*/ 553360 w 1146175"/>
              <a:gd name="connsiteY16" fmla="*/ 772292 h 1125538"/>
              <a:gd name="connsiteX17" fmla="*/ 544071 w 1146175"/>
              <a:gd name="connsiteY17" fmla="*/ 755856 h 1125538"/>
              <a:gd name="connsiteX18" fmla="*/ 557648 w 1146175"/>
              <a:gd name="connsiteY18" fmla="*/ 742278 h 1125538"/>
              <a:gd name="connsiteX19" fmla="*/ 715560 w 1146175"/>
              <a:gd name="connsiteY19" fmla="*/ 726557 h 1125538"/>
              <a:gd name="connsiteX20" fmla="*/ 759146 w 1146175"/>
              <a:gd name="connsiteY20" fmla="*/ 679392 h 1125538"/>
              <a:gd name="connsiteX21" fmla="*/ 713416 w 1146175"/>
              <a:gd name="connsiteY21" fmla="*/ 631513 h 1125538"/>
              <a:gd name="connsiteX22" fmla="*/ 409739 w 1146175"/>
              <a:gd name="connsiteY22" fmla="*/ 615791 h 1125538"/>
              <a:gd name="connsiteX23" fmla="*/ 390213 w 1146175"/>
              <a:gd name="connsiteY23" fmla="*/ 584200 h 1125538"/>
              <a:gd name="connsiteX24" fmla="*/ 393786 w 1146175"/>
              <a:gd name="connsiteY24" fmla="*/ 584200 h 1125538"/>
              <a:gd name="connsiteX25" fmla="*/ 396645 w 1146175"/>
              <a:gd name="connsiteY25" fmla="*/ 584200 h 1125538"/>
              <a:gd name="connsiteX26" fmla="*/ 399504 w 1146175"/>
              <a:gd name="connsiteY26" fmla="*/ 584200 h 1125538"/>
              <a:gd name="connsiteX27" fmla="*/ 403077 w 1146175"/>
              <a:gd name="connsiteY27" fmla="*/ 584200 h 1125538"/>
              <a:gd name="connsiteX28" fmla="*/ 410939 w 1146175"/>
              <a:gd name="connsiteY28" fmla="*/ 584200 h 1125538"/>
              <a:gd name="connsiteX29" fmla="*/ 715390 w 1146175"/>
              <a:gd name="connsiteY29" fmla="*/ 599912 h 1125538"/>
              <a:gd name="connsiteX30" fmla="*/ 780426 w 1146175"/>
              <a:gd name="connsiteY30" fmla="*/ 640619 h 1125538"/>
              <a:gd name="connsiteX31" fmla="*/ 782570 w 1146175"/>
              <a:gd name="connsiteY31" fmla="*/ 644904 h 1125538"/>
              <a:gd name="connsiteX32" fmla="*/ 789002 w 1146175"/>
              <a:gd name="connsiteY32" fmla="*/ 663473 h 1125538"/>
              <a:gd name="connsiteX33" fmla="*/ 790431 w 1146175"/>
              <a:gd name="connsiteY33" fmla="*/ 679184 h 1125538"/>
              <a:gd name="connsiteX34" fmla="*/ 789716 w 1146175"/>
              <a:gd name="connsiteY34" fmla="*/ 684898 h 1125538"/>
              <a:gd name="connsiteX35" fmla="*/ 789716 w 1146175"/>
              <a:gd name="connsiteY35" fmla="*/ 685612 h 1125538"/>
              <a:gd name="connsiteX36" fmla="*/ 789002 w 1146175"/>
              <a:gd name="connsiteY36" fmla="*/ 691325 h 1125538"/>
              <a:gd name="connsiteX37" fmla="*/ 763988 w 1146175"/>
              <a:gd name="connsiteY37" fmla="*/ 738460 h 1125538"/>
              <a:gd name="connsiteX38" fmla="*/ 763273 w 1146175"/>
              <a:gd name="connsiteY38" fmla="*/ 738460 h 1125538"/>
              <a:gd name="connsiteX39" fmla="*/ 758985 w 1146175"/>
              <a:gd name="connsiteY39" fmla="*/ 742031 h 1125538"/>
              <a:gd name="connsiteX40" fmla="*/ 754697 w 1146175"/>
              <a:gd name="connsiteY40" fmla="*/ 744888 h 1125538"/>
              <a:gd name="connsiteX41" fmla="*/ 753983 w 1146175"/>
              <a:gd name="connsiteY41" fmla="*/ 745602 h 1125538"/>
              <a:gd name="connsiteX42" fmla="*/ 749695 w 1146175"/>
              <a:gd name="connsiteY42" fmla="*/ 748458 h 1125538"/>
              <a:gd name="connsiteX43" fmla="*/ 748265 w 1146175"/>
              <a:gd name="connsiteY43" fmla="*/ 749173 h 1125538"/>
              <a:gd name="connsiteX44" fmla="*/ 743263 w 1146175"/>
              <a:gd name="connsiteY44" fmla="*/ 751315 h 1125538"/>
              <a:gd name="connsiteX45" fmla="*/ 742548 w 1146175"/>
              <a:gd name="connsiteY45" fmla="*/ 752029 h 1125538"/>
              <a:gd name="connsiteX46" fmla="*/ 738260 w 1146175"/>
              <a:gd name="connsiteY46" fmla="*/ 753458 h 1125538"/>
              <a:gd name="connsiteX47" fmla="*/ 718964 w 1146175"/>
              <a:gd name="connsiteY47" fmla="*/ 757743 h 1125538"/>
              <a:gd name="connsiteX48" fmla="*/ 624626 w 1146175"/>
              <a:gd name="connsiteY48" fmla="*/ 767027 h 1125538"/>
              <a:gd name="connsiteX49" fmla="*/ 743263 w 1146175"/>
              <a:gd name="connsiteY49" fmla="*/ 784167 h 1125538"/>
              <a:gd name="connsiteX50" fmla="*/ 775423 w 1146175"/>
              <a:gd name="connsiteY50" fmla="*/ 779882 h 1125538"/>
              <a:gd name="connsiteX51" fmla="*/ 785428 w 1146175"/>
              <a:gd name="connsiteY51" fmla="*/ 777739 h 1125538"/>
              <a:gd name="connsiteX52" fmla="*/ 786858 w 1146175"/>
              <a:gd name="connsiteY52" fmla="*/ 777025 h 1125538"/>
              <a:gd name="connsiteX53" fmla="*/ 796863 w 1146175"/>
              <a:gd name="connsiteY53" fmla="*/ 774883 h 1125538"/>
              <a:gd name="connsiteX54" fmla="*/ 826880 w 1146175"/>
              <a:gd name="connsiteY54" fmla="*/ 764170 h 1125538"/>
              <a:gd name="connsiteX55" fmla="*/ 909782 w 1146175"/>
              <a:gd name="connsiteY55" fmla="*/ 711322 h 1125538"/>
              <a:gd name="connsiteX56" fmla="*/ 928363 w 1146175"/>
              <a:gd name="connsiteY56" fmla="*/ 692753 h 1125538"/>
              <a:gd name="connsiteX57" fmla="*/ 975532 w 1146175"/>
              <a:gd name="connsiteY57" fmla="*/ 639191 h 1125538"/>
              <a:gd name="connsiteX58" fmla="*/ 978391 w 1146175"/>
              <a:gd name="connsiteY58" fmla="*/ 635620 h 1125538"/>
              <a:gd name="connsiteX59" fmla="*/ 979105 w 1146175"/>
              <a:gd name="connsiteY59" fmla="*/ 635620 h 1125538"/>
              <a:gd name="connsiteX60" fmla="*/ 1034135 w 1146175"/>
              <a:gd name="connsiteY60" fmla="*/ 610624 h 1125538"/>
              <a:gd name="connsiteX61" fmla="*/ 1034850 w 1146175"/>
              <a:gd name="connsiteY61" fmla="*/ 610624 h 1125538"/>
              <a:gd name="connsiteX62" fmla="*/ 1039138 w 1146175"/>
              <a:gd name="connsiteY62" fmla="*/ 610624 h 1125538"/>
              <a:gd name="connsiteX63" fmla="*/ 1040567 w 1146175"/>
              <a:gd name="connsiteY63" fmla="*/ 610624 h 1125538"/>
              <a:gd name="connsiteX64" fmla="*/ 1079875 w 1146175"/>
              <a:gd name="connsiteY64" fmla="*/ 621337 h 1125538"/>
              <a:gd name="connsiteX65" fmla="*/ 1083448 w 1146175"/>
              <a:gd name="connsiteY65" fmla="*/ 623479 h 1125538"/>
              <a:gd name="connsiteX66" fmla="*/ 1086307 w 1146175"/>
              <a:gd name="connsiteY66" fmla="*/ 624908 h 1125538"/>
              <a:gd name="connsiteX67" fmla="*/ 1087021 w 1146175"/>
              <a:gd name="connsiteY67" fmla="*/ 625622 h 1125538"/>
              <a:gd name="connsiteX68" fmla="*/ 1089880 w 1146175"/>
              <a:gd name="connsiteY68" fmla="*/ 627764 h 1125538"/>
              <a:gd name="connsiteX69" fmla="*/ 1090595 w 1146175"/>
              <a:gd name="connsiteY69" fmla="*/ 628478 h 1125538"/>
              <a:gd name="connsiteX70" fmla="*/ 1092739 w 1146175"/>
              <a:gd name="connsiteY70" fmla="*/ 629907 h 1125538"/>
              <a:gd name="connsiteX71" fmla="*/ 1095597 w 1146175"/>
              <a:gd name="connsiteY71" fmla="*/ 632049 h 1125538"/>
              <a:gd name="connsiteX72" fmla="*/ 1095597 w 1146175"/>
              <a:gd name="connsiteY72" fmla="*/ 632763 h 1125538"/>
              <a:gd name="connsiteX73" fmla="*/ 1103459 w 1146175"/>
              <a:gd name="connsiteY73" fmla="*/ 749887 h 1125538"/>
              <a:gd name="connsiteX74" fmla="*/ 1072013 w 1146175"/>
              <a:gd name="connsiteY74" fmla="*/ 787738 h 1125538"/>
              <a:gd name="connsiteX75" fmla="*/ 966241 w 1146175"/>
              <a:gd name="connsiteY75" fmla="*/ 884150 h 1125538"/>
              <a:gd name="connsiteX76" fmla="*/ 956950 w 1146175"/>
              <a:gd name="connsiteY76" fmla="*/ 890577 h 1125538"/>
              <a:gd name="connsiteX77" fmla="*/ 948374 w 1146175"/>
              <a:gd name="connsiteY77" fmla="*/ 896291 h 1125538"/>
              <a:gd name="connsiteX78" fmla="*/ 806154 w 1146175"/>
              <a:gd name="connsiteY78" fmla="*/ 963422 h 1125538"/>
              <a:gd name="connsiteX79" fmla="*/ 792575 w 1146175"/>
              <a:gd name="connsiteY79" fmla="*/ 967707 h 1125538"/>
              <a:gd name="connsiteX80" fmla="*/ 788287 w 1146175"/>
              <a:gd name="connsiteY80" fmla="*/ 968422 h 1125538"/>
              <a:gd name="connsiteX81" fmla="*/ 779711 w 1146175"/>
              <a:gd name="connsiteY81" fmla="*/ 971278 h 1125538"/>
              <a:gd name="connsiteX82" fmla="*/ 773994 w 1146175"/>
              <a:gd name="connsiteY82" fmla="*/ 972707 h 1125538"/>
              <a:gd name="connsiteX83" fmla="*/ 766132 w 1146175"/>
              <a:gd name="connsiteY83" fmla="*/ 974135 h 1125538"/>
              <a:gd name="connsiteX84" fmla="*/ 759700 w 1146175"/>
              <a:gd name="connsiteY84" fmla="*/ 976277 h 1125538"/>
              <a:gd name="connsiteX85" fmla="*/ 753983 w 1146175"/>
              <a:gd name="connsiteY85" fmla="*/ 976992 h 1125538"/>
              <a:gd name="connsiteX86" fmla="*/ 724681 w 1146175"/>
              <a:gd name="connsiteY86" fmla="*/ 983419 h 1125538"/>
              <a:gd name="connsiteX87" fmla="*/ 721822 w 1146175"/>
              <a:gd name="connsiteY87" fmla="*/ 983419 h 1125538"/>
              <a:gd name="connsiteX88" fmla="*/ 711102 w 1146175"/>
              <a:gd name="connsiteY88" fmla="*/ 985562 h 1125538"/>
              <a:gd name="connsiteX89" fmla="*/ 709673 w 1146175"/>
              <a:gd name="connsiteY89" fmla="*/ 985562 h 1125538"/>
              <a:gd name="connsiteX90" fmla="*/ 650355 w 1146175"/>
              <a:gd name="connsiteY90" fmla="*/ 991989 h 1125538"/>
              <a:gd name="connsiteX91" fmla="*/ 648211 w 1146175"/>
              <a:gd name="connsiteY91" fmla="*/ 991989 h 1125538"/>
              <a:gd name="connsiteX92" fmla="*/ 637491 w 1146175"/>
              <a:gd name="connsiteY92" fmla="*/ 992703 h 1125538"/>
              <a:gd name="connsiteX93" fmla="*/ 635347 w 1146175"/>
              <a:gd name="connsiteY93" fmla="*/ 992703 h 1125538"/>
              <a:gd name="connsiteX94" fmla="*/ 621053 w 1146175"/>
              <a:gd name="connsiteY94" fmla="*/ 992703 h 1125538"/>
              <a:gd name="connsiteX95" fmla="*/ 620338 w 1146175"/>
              <a:gd name="connsiteY95" fmla="*/ 992703 h 1125538"/>
              <a:gd name="connsiteX96" fmla="*/ 612477 w 1146175"/>
              <a:gd name="connsiteY96" fmla="*/ 992703 h 1125538"/>
              <a:gd name="connsiteX97" fmla="*/ 606045 w 1146175"/>
              <a:gd name="connsiteY97" fmla="*/ 992703 h 1125538"/>
              <a:gd name="connsiteX98" fmla="*/ 598898 w 1146175"/>
              <a:gd name="connsiteY98" fmla="*/ 992703 h 1125538"/>
              <a:gd name="connsiteX99" fmla="*/ 592466 w 1146175"/>
              <a:gd name="connsiteY99" fmla="*/ 992703 h 1125538"/>
              <a:gd name="connsiteX100" fmla="*/ 584605 w 1146175"/>
              <a:gd name="connsiteY100" fmla="*/ 991989 h 1125538"/>
              <a:gd name="connsiteX101" fmla="*/ 578887 w 1146175"/>
              <a:gd name="connsiteY101" fmla="*/ 991989 h 1125538"/>
              <a:gd name="connsiteX102" fmla="*/ 566738 w 1146175"/>
              <a:gd name="connsiteY102" fmla="*/ 991275 h 1125538"/>
              <a:gd name="connsiteX103" fmla="*/ 566023 w 1146175"/>
              <a:gd name="connsiteY103" fmla="*/ 991275 h 1125538"/>
              <a:gd name="connsiteX104" fmla="*/ 485265 w 1146175"/>
              <a:gd name="connsiteY104" fmla="*/ 985562 h 1125538"/>
              <a:gd name="connsiteX105" fmla="*/ 416656 w 1146175"/>
              <a:gd name="connsiteY105" fmla="*/ 980562 h 1125538"/>
              <a:gd name="connsiteX106" fmla="*/ 410939 w 1146175"/>
              <a:gd name="connsiteY106" fmla="*/ 980562 h 1125538"/>
              <a:gd name="connsiteX107" fmla="*/ 407365 w 1146175"/>
              <a:gd name="connsiteY107" fmla="*/ 980562 h 1125538"/>
              <a:gd name="connsiteX108" fmla="*/ 393072 w 1146175"/>
              <a:gd name="connsiteY108" fmla="*/ 981991 h 1125538"/>
              <a:gd name="connsiteX109" fmla="*/ 388784 w 1146175"/>
              <a:gd name="connsiteY109" fmla="*/ 982705 h 1125538"/>
              <a:gd name="connsiteX110" fmla="*/ 388784 w 1146175"/>
              <a:gd name="connsiteY110" fmla="*/ 983419 h 1125538"/>
              <a:gd name="connsiteX111" fmla="*/ 384496 w 1146175"/>
              <a:gd name="connsiteY111" fmla="*/ 984133 h 1125538"/>
              <a:gd name="connsiteX112" fmla="*/ 383781 w 1146175"/>
              <a:gd name="connsiteY112" fmla="*/ 984847 h 1125538"/>
              <a:gd name="connsiteX113" fmla="*/ 379493 w 1146175"/>
              <a:gd name="connsiteY113" fmla="*/ 986276 h 1125538"/>
              <a:gd name="connsiteX114" fmla="*/ 21441 w 1146175"/>
              <a:gd name="connsiteY114" fmla="*/ 1124824 h 1125538"/>
              <a:gd name="connsiteX115" fmla="*/ 15723 w 1146175"/>
              <a:gd name="connsiteY115" fmla="*/ 1125538 h 1125538"/>
              <a:gd name="connsiteX116" fmla="*/ 7147 w 1146175"/>
              <a:gd name="connsiteY116" fmla="*/ 1122681 h 1125538"/>
              <a:gd name="connsiteX117" fmla="*/ 0 w 1146175"/>
              <a:gd name="connsiteY117" fmla="*/ 1109826 h 1125538"/>
              <a:gd name="connsiteX118" fmla="*/ 0 w 1146175"/>
              <a:gd name="connsiteY118" fmla="*/ 793451 h 1125538"/>
              <a:gd name="connsiteX119" fmla="*/ 7862 w 1146175"/>
              <a:gd name="connsiteY119" fmla="*/ 779882 h 1125538"/>
              <a:gd name="connsiteX120" fmla="*/ 310169 w 1146175"/>
              <a:gd name="connsiteY120" fmla="*/ 608482 h 1125538"/>
              <a:gd name="connsiteX121" fmla="*/ 315887 w 1146175"/>
              <a:gd name="connsiteY121" fmla="*/ 605625 h 1125538"/>
              <a:gd name="connsiteX122" fmla="*/ 318031 w 1146175"/>
              <a:gd name="connsiteY122" fmla="*/ 604197 h 1125538"/>
              <a:gd name="connsiteX123" fmla="*/ 320889 w 1146175"/>
              <a:gd name="connsiteY123" fmla="*/ 602768 h 1125538"/>
              <a:gd name="connsiteX124" fmla="*/ 324463 w 1146175"/>
              <a:gd name="connsiteY124" fmla="*/ 601340 h 1125538"/>
              <a:gd name="connsiteX125" fmla="*/ 326607 w 1146175"/>
              <a:gd name="connsiteY125" fmla="*/ 599912 h 1125538"/>
              <a:gd name="connsiteX126" fmla="*/ 330180 w 1146175"/>
              <a:gd name="connsiteY126" fmla="*/ 598483 h 1125538"/>
              <a:gd name="connsiteX127" fmla="*/ 332324 w 1146175"/>
              <a:gd name="connsiteY127" fmla="*/ 597769 h 1125538"/>
              <a:gd name="connsiteX128" fmla="*/ 336612 w 1146175"/>
              <a:gd name="connsiteY128" fmla="*/ 596341 h 1125538"/>
              <a:gd name="connsiteX129" fmla="*/ 338042 w 1146175"/>
              <a:gd name="connsiteY129" fmla="*/ 595627 h 1125538"/>
              <a:gd name="connsiteX130" fmla="*/ 342330 w 1146175"/>
              <a:gd name="connsiteY130" fmla="*/ 594198 h 1125538"/>
              <a:gd name="connsiteX131" fmla="*/ 343044 w 1146175"/>
              <a:gd name="connsiteY131" fmla="*/ 593484 h 1125538"/>
              <a:gd name="connsiteX132" fmla="*/ 348047 w 1146175"/>
              <a:gd name="connsiteY132" fmla="*/ 592056 h 1125538"/>
              <a:gd name="connsiteX133" fmla="*/ 348762 w 1146175"/>
              <a:gd name="connsiteY133" fmla="*/ 592056 h 1125538"/>
              <a:gd name="connsiteX134" fmla="*/ 382352 w 1146175"/>
              <a:gd name="connsiteY134" fmla="*/ 584914 h 1125538"/>
              <a:gd name="connsiteX135" fmla="*/ 383781 w 1146175"/>
              <a:gd name="connsiteY135" fmla="*/ 584914 h 1125538"/>
              <a:gd name="connsiteX136" fmla="*/ 387354 w 1146175"/>
              <a:gd name="connsiteY136" fmla="*/ 584914 h 1125538"/>
              <a:gd name="connsiteX137" fmla="*/ 390213 w 1146175"/>
              <a:gd name="connsiteY137" fmla="*/ 584200 h 1125538"/>
              <a:gd name="connsiteX138" fmla="*/ 654433 w 1146175"/>
              <a:gd name="connsiteY138" fmla="*/ 103187 h 1125538"/>
              <a:gd name="connsiteX139" fmla="*/ 686457 w 1146175"/>
              <a:gd name="connsiteY139" fmla="*/ 103187 h 1125538"/>
              <a:gd name="connsiteX140" fmla="*/ 686457 w 1146175"/>
              <a:gd name="connsiteY140" fmla="*/ 126776 h 1125538"/>
              <a:gd name="connsiteX141" fmla="*/ 724174 w 1146175"/>
              <a:gd name="connsiteY141" fmla="*/ 139643 h 1125538"/>
              <a:gd name="connsiteX142" fmla="*/ 714211 w 1146175"/>
              <a:gd name="connsiteY142" fmla="*/ 169665 h 1125538"/>
              <a:gd name="connsiteX143" fmla="*/ 672936 w 1146175"/>
              <a:gd name="connsiteY143" fmla="*/ 156083 h 1125538"/>
              <a:gd name="connsiteX144" fmla="*/ 653722 w 1146175"/>
              <a:gd name="connsiteY144" fmla="*/ 162517 h 1125538"/>
              <a:gd name="connsiteX145" fmla="*/ 646605 w 1146175"/>
              <a:gd name="connsiteY145" fmla="*/ 179672 h 1125538"/>
              <a:gd name="connsiteX146" fmla="*/ 685034 w 1146175"/>
              <a:gd name="connsiteY146" fmla="*/ 215413 h 1125538"/>
              <a:gd name="connsiteX147" fmla="*/ 715634 w 1146175"/>
              <a:gd name="connsiteY147" fmla="*/ 233998 h 1125538"/>
              <a:gd name="connsiteX148" fmla="*/ 729155 w 1146175"/>
              <a:gd name="connsiteY148" fmla="*/ 253298 h 1125538"/>
              <a:gd name="connsiteX149" fmla="*/ 733425 w 1146175"/>
              <a:gd name="connsiteY149" fmla="*/ 278317 h 1125538"/>
              <a:gd name="connsiteX150" fmla="*/ 721327 w 1146175"/>
              <a:gd name="connsiteY150" fmla="*/ 311198 h 1125538"/>
              <a:gd name="connsiteX151" fmla="*/ 686457 w 1146175"/>
              <a:gd name="connsiteY151" fmla="*/ 331213 h 1125538"/>
              <a:gd name="connsiteX152" fmla="*/ 686457 w 1146175"/>
              <a:gd name="connsiteY152" fmla="*/ 361950 h 1125538"/>
              <a:gd name="connsiteX153" fmla="*/ 654433 w 1146175"/>
              <a:gd name="connsiteY153" fmla="*/ 361950 h 1125538"/>
              <a:gd name="connsiteX154" fmla="*/ 654433 w 1146175"/>
              <a:gd name="connsiteY154" fmla="*/ 332643 h 1125538"/>
              <a:gd name="connsiteX155" fmla="*/ 609600 w 1146175"/>
              <a:gd name="connsiteY155" fmla="*/ 319061 h 1125538"/>
              <a:gd name="connsiteX156" fmla="*/ 623833 w 1146175"/>
              <a:gd name="connsiteY156" fmla="*/ 287609 h 1125538"/>
              <a:gd name="connsiteX157" fmla="*/ 665820 w 1146175"/>
              <a:gd name="connsiteY157" fmla="*/ 301906 h 1125538"/>
              <a:gd name="connsiteX158" fmla="*/ 697132 w 1146175"/>
              <a:gd name="connsiteY158" fmla="*/ 280461 h 1125538"/>
              <a:gd name="connsiteX159" fmla="*/ 689304 w 1146175"/>
              <a:gd name="connsiteY159" fmla="*/ 259732 h 1125538"/>
              <a:gd name="connsiteX160" fmla="*/ 658703 w 1146175"/>
              <a:gd name="connsiteY160" fmla="*/ 239002 h 1125538"/>
              <a:gd name="connsiteX161" fmla="*/ 627391 w 1146175"/>
              <a:gd name="connsiteY161" fmla="*/ 220417 h 1125538"/>
              <a:gd name="connsiteX162" fmla="*/ 613870 w 1146175"/>
              <a:gd name="connsiteY162" fmla="*/ 202546 h 1125538"/>
              <a:gd name="connsiteX163" fmla="*/ 610312 w 1146175"/>
              <a:gd name="connsiteY163" fmla="*/ 179672 h 1125538"/>
              <a:gd name="connsiteX164" fmla="*/ 623121 w 1146175"/>
              <a:gd name="connsiteY164" fmla="*/ 147506 h 1125538"/>
              <a:gd name="connsiteX165" fmla="*/ 654433 w 1146175"/>
              <a:gd name="connsiteY165" fmla="*/ 128920 h 1125538"/>
              <a:gd name="connsiteX166" fmla="*/ 654433 w 1146175"/>
              <a:gd name="connsiteY166" fmla="*/ 103187 h 1125538"/>
              <a:gd name="connsiteX167" fmla="*/ 746125 w 1146175"/>
              <a:gd name="connsiteY167" fmla="*/ 63501 h 1125538"/>
              <a:gd name="connsiteX168" fmla="*/ 1039803 w 1146175"/>
              <a:gd name="connsiteY168" fmla="*/ 63501 h 1125538"/>
              <a:gd name="connsiteX169" fmla="*/ 1082675 w 1146175"/>
              <a:gd name="connsiteY169" fmla="*/ 102635 h 1125538"/>
              <a:gd name="connsiteX170" fmla="*/ 1082675 w 1146175"/>
              <a:gd name="connsiteY170" fmla="*/ 364475 h 1125538"/>
              <a:gd name="connsiteX171" fmla="*/ 1040517 w 1146175"/>
              <a:gd name="connsiteY171" fmla="*/ 400051 h 1125538"/>
              <a:gd name="connsiteX172" fmla="*/ 748269 w 1146175"/>
              <a:gd name="connsiteY172" fmla="*/ 400051 h 1125538"/>
              <a:gd name="connsiteX173" fmla="*/ 812578 w 1146175"/>
              <a:gd name="connsiteY173" fmla="*/ 232843 h 1125538"/>
              <a:gd name="connsiteX174" fmla="*/ 746125 w 1146175"/>
              <a:gd name="connsiteY174" fmla="*/ 63501 h 1125538"/>
              <a:gd name="connsiteX175" fmla="*/ 301794 w 1146175"/>
              <a:gd name="connsiteY175" fmla="*/ 63501 h 1125538"/>
              <a:gd name="connsiteX176" fmla="*/ 596900 w 1146175"/>
              <a:gd name="connsiteY176" fmla="*/ 63501 h 1125538"/>
              <a:gd name="connsiteX177" fmla="*/ 529733 w 1146175"/>
              <a:gd name="connsiteY177" fmla="*/ 232843 h 1125538"/>
              <a:gd name="connsiteX178" fmla="*/ 594757 w 1146175"/>
              <a:gd name="connsiteY178" fmla="*/ 400051 h 1125538"/>
              <a:gd name="connsiteX179" fmla="*/ 301079 w 1146175"/>
              <a:gd name="connsiteY179" fmla="*/ 400051 h 1125538"/>
              <a:gd name="connsiteX180" fmla="*/ 260350 w 1146175"/>
              <a:gd name="connsiteY180" fmla="*/ 365187 h 1125538"/>
              <a:gd name="connsiteX181" fmla="*/ 260350 w 1146175"/>
              <a:gd name="connsiteY181" fmla="*/ 102635 h 1125538"/>
              <a:gd name="connsiteX182" fmla="*/ 301794 w 1146175"/>
              <a:gd name="connsiteY182" fmla="*/ 63501 h 1125538"/>
              <a:gd name="connsiteX183" fmla="*/ 228600 w 1146175"/>
              <a:gd name="connsiteY183" fmla="*/ 31750 h 1125538"/>
              <a:gd name="connsiteX184" fmla="*/ 228600 w 1146175"/>
              <a:gd name="connsiteY184" fmla="*/ 431800 h 1125538"/>
              <a:gd name="connsiteX185" fmla="*/ 1114425 w 1146175"/>
              <a:gd name="connsiteY185" fmla="*/ 431800 h 1125538"/>
              <a:gd name="connsiteX186" fmla="*/ 1114425 w 1146175"/>
              <a:gd name="connsiteY186" fmla="*/ 31750 h 1125538"/>
              <a:gd name="connsiteX187" fmla="*/ 209003 w 1146175"/>
              <a:gd name="connsiteY187" fmla="*/ 0 h 1125538"/>
              <a:gd name="connsiteX188" fmla="*/ 1134023 w 1146175"/>
              <a:gd name="connsiteY188" fmla="*/ 0 h 1125538"/>
              <a:gd name="connsiteX189" fmla="*/ 1146175 w 1146175"/>
              <a:gd name="connsiteY189" fmla="*/ 11428 h 1125538"/>
              <a:gd name="connsiteX190" fmla="*/ 1146175 w 1146175"/>
              <a:gd name="connsiteY190" fmla="*/ 451408 h 1125538"/>
              <a:gd name="connsiteX191" fmla="*/ 1134023 w 1146175"/>
              <a:gd name="connsiteY191" fmla="*/ 463550 h 1125538"/>
              <a:gd name="connsiteX192" fmla="*/ 209003 w 1146175"/>
              <a:gd name="connsiteY192" fmla="*/ 463550 h 1125538"/>
              <a:gd name="connsiteX193" fmla="*/ 196850 w 1146175"/>
              <a:gd name="connsiteY193" fmla="*/ 451408 h 1125538"/>
              <a:gd name="connsiteX194" fmla="*/ 196850 w 1146175"/>
              <a:gd name="connsiteY194" fmla="*/ 11428 h 1125538"/>
              <a:gd name="connsiteX195" fmla="*/ 209003 w 1146175"/>
              <a:gd name="connsiteY195" fmla="*/ 0 h 1125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1146175" h="1125538">
                <a:moveTo>
                  <a:pt x="409739" y="615791"/>
                </a:moveTo>
                <a:cubicBezTo>
                  <a:pt x="380443" y="614362"/>
                  <a:pt x="351147" y="621508"/>
                  <a:pt x="326138" y="635801"/>
                </a:cubicBezTo>
                <a:cubicBezTo>
                  <a:pt x="326138" y="635801"/>
                  <a:pt x="326138" y="635801"/>
                  <a:pt x="31750" y="803020"/>
                </a:cubicBezTo>
                <a:cubicBezTo>
                  <a:pt x="31750" y="803020"/>
                  <a:pt x="31750" y="803020"/>
                  <a:pt x="31750" y="1087437"/>
                </a:cubicBezTo>
                <a:cubicBezTo>
                  <a:pt x="31750" y="1087437"/>
                  <a:pt x="31750" y="1087437"/>
                  <a:pt x="368296" y="957377"/>
                </a:cubicBezTo>
                <a:cubicBezTo>
                  <a:pt x="384730" y="950946"/>
                  <a:pt x="401879" y="948087"/>
                  <a:pt x="419028" y="949516"/>
                </a:cubicBezTo>
                <a:cubicBezTo>
                  <a:pt x="419028" y="949516"/>
                  <a:pt x="419028" y="949516"/>
                  <a:pt x="568366" y="960236"/>
                </a:cubicBezTo>
                <a:cubicBezTo>
                  <a:pt x="645535" y="965953"/>
                  <a:pt x="722705" y="956663"/>
                  <a:pt x="797017" y="933795"/>
                </a:cubicBezTo>
                <a:cubicBezTo>
                  <a:pt x="894908" y="903067"/>
                  <a:pt x="981367" y="845897"/>
                  <a:pt x="1047818" y="767290"/>
                </a:cubicBezTo>
                <a:cubicBezTo>
                  <a:pt x="1047818" y="767290"/>
                  <a:pt x="1047818" y="767290"/>
                  <a:pt x="1079972" y="730130"/>
                </a:cubicBezTo>
                <a:cubicBezTo>
                  <a:pt x="1098550" y="707977"/>
                  <a:pt x="1096407" y="675104"/>
                  <a:pt x="1074971" y="655810"/>
                </a:cubicBezTo>
                <a:cubicBezTo>
                  <a:pt x="1064253" y="646520"/>
                  <a:pt x="1050676" y="641517"/>
                  <a:pt x="1036386" y="642232"/>
                </a:cubicBezTo>
                <a:cubicBezTo>
                  <a:pt x="1022095" y="642947"/>
                  <a:pt x="1008519" y="649378"/>
                  <a:pt x="999230" y="660097"/>
                </a:cubicBezTo>
                <a:cubicBezTo>
                  <a:pt x="999230" y="660097"/>
                  <a:pt x="999230" y="660097"/>
                  <a:pt x="951356" y="713694"/>
                </a:cubicBezTo>
                <a:cubicBezTo>
                  <a:pt x="912771" y="758000"/>
                  <a:pt x="862039" y="789443"/>
                  <a:pt x="805591" y="805164"/>
                </a:cubicBezTo>
                <a:cubicBezTo>
                  <a:pt x="740568" y="823744"/>
                  <a:pt x="670544" y="819457"/>
                  <a:pt x="608380" y="794445"/>
                </a:cubicBezTo>
                <a:cubicBezTo>
                  <a:pt x="608380" y="794445"/>
                  <a:pt x="608380" y="794445"/>
                  <a:pt x="553360" y="772292"/>
                </a:cubicBezTo>
                <a:cubicBezTo>
                  <a:pt x="546930" y="769434"/>
                  <a:pt x="542642" y="763002"/>
                  <a:pt x="544071" y="755856"/>
                </a:cubicBezTo>
                <a:cubicBezTo>
                  <a:pt x="544786" y="748710"/>
                  <a:pt x="550502" y="742993"/>
                  <a:pt x="557648" y="742278"/>
                </a:cubicBezTo>
                <a:cubicBezTo>
                  <a:pt x="557648" y="742278"/>
                  <a:pt x="557648" y="742278"/>
                  <a:pt x="715560" y="726557"/>
                </a:cubicBezTo>
                <a:cubicBezTo>
                  <a:pt x="740568" y="724413"/>
                  <a:pt x="759146" y="703689"/>
                  <a:pt x="759146" y="679392"/>
                </a:cubicBezTo>
                <a:cubicBezTo>
                  <a:pt x="759146" y="653666"/>
                  <a:pt x="739139" y="632942"/>
                  <a:pt x="713416" y="631513"/>
                </a:cubicBezTo>
                <a:cubicBezTo>
                  <a:pt x="713416" y="631513"/>
                  <a:pt x="713416" y="631513"/>
                  <a:pt x="409739" y="615791"/>
                </a:cubicBezTo>
                <a:close/>
                <a:moveTo>
                  <a:pt x="390213" y="584200"/>
                </a:moveTo>
                <a:cubicBezTo>
                  <a:pt x="391642" y="584200"/>
                  <a:pt x="392357" y="584200"/>
                  <a:pt x="393786" y="584200"/>
                </a:cubicBezTo>
                <a:cubicBezTo>
                  <a:pt x="394501" y="584200"/>
                  <a:pt x="395930" y="584200"/>
                  <a:pt x="396645" y="584200"/>
                </a:cubicBezTo>
                <a:cubicBezTo>
                  <a:pt x="398074" y="584200"/>
                  <a:pt x="398789" y="584200"/>
                  <a:pt x="399504" y="584200"/>
                </a:cubicBezTo>
                <a:cubicBezTo>
                  <a:pt x="400933" y="584200"/>
                  <a:pt x="401648" y="584200"/>
                  <a:pt x="403077" y="584200"/>
                </a:cubicBezTo>
                <a:cubicBezTo>
                  <a:pt x="405221" y="584200"/>
                  <a:pt x="408080" y="584200"/>
                  <a:pt x="410939" y="584200"/>
                </a:cubicBezTo>
                <a:cubicBezTo>
                  <a:pt x="410939" y="584200"/>
                  <a:pt x="410939" y="584200"/>
                  <a:pt x="715390" y="599912"/>
                </a:cubicBezTo>
                <a:cubicBezTo>
                  <a:pt x="743263" y="601340"/>
                  <a:pt x="766847" y="617766"/>
                  <a:pt x="780426" y="640619"/>
                </a:cubicBezTo>
                <a:cubicBezTo>
                  <a:pt x="781140" y="642048"/>
                  <a:pt x="781855" y="643476"/>
                  <a:pt x="782570" y="644904"/>
                </a:cubicBezTo>
                <a:cubicBezTo>
                  <a:pt x="785428" y="650618"/>
                  <a:pt x="787572" y="657045"/>
                  <a:pt x="789002" y="663473"/>
                </a:cubicBezTo>
                <a:cubicBezTo>
                  <a:pt x="789716" y="668472"/>
                  <a:pt x="790431" y="673471"/>
                  <a:pt x="790431" y="679184"/>
                </a:cubicBezTo>
                <a:cubicBezTo>
                  <a:pt x="790431" y="681327"/>
                  <a:pt x="790431" y="682755"/>
                  <a:pt x="789716" y="684898"/>
                </a:cubicBezTo>
                <a:cubicBezTo>
                  <a:pt x="789716" y="684898"/>
                  <a:pt x="789716" y="685612"/>
                  <a:pt x="789716" y="685612"/>
                </a:cubicBezTo>
                <a:cubicBezTo>
                  <a:pt x="789716" y="687754"/>
                  <a:pt x="789716" y="689183"/>
                  <a:pt x="789002" y="691325"/>
                </a:cubicBezTo>
                <a:cubicBezTo>
                  <a:pt x="786143" y="709893"/>
                  <a:pt x="776852" y="726319"/>
                  <a:pt x="763988" y="738460"/>
                </a:cubicBezTo>
                <a:cubicBezTo>
                  <a:pt x="763988" y="738460"/>
                  <a:pt x="763273" y="738460"/>
                  <a:pt x="763273" y="738460"/>
                </a:cubicBezTo>
                <a:cubicBezTo>
                  <a:pt x="761844" y="739888"/>
                  <a:pt x="760415" y="740603"/>
                  <a:pt x="758985" y="742031"/>
                </a:cubicBezTo>
                <a:cubicBezTo>
                  <a:pt x="757556" y="743459"/>
                  <a:pt x="756127" y="744173"/>
                  <a:pt x="754697" y="744888"/>
                </a:cubicBezTo>
                <a:cubicBezTo>
                  <a:pt x="753983" y="745602"/>
                  <a:pt x="753983" y="745602"/>
                  <a:pt x="753983" y="745602"/>
                </a:cubicBezTo>
                <a:cubicBezTo>
                  <a:pt x="752553" y="746316"/>
                  <a:pt x="751124" y="747744"/>
                  <a:pt x="749695" y="748458"/>
                </a:cubicBezTo>
                <a:cubicBezTo>
                  <a:pt x="748980" y="748458"/>
                  <a:pt x="748265" y="748458"/>
                  <a:pt x="748265" y="749173"/>
                </a:cubicBezTo>
                <a:cubicBezTo>
                  <a:pt x="746836" y="749887"/>
                  <a:pt x="745407" y="750601"/>
                  <a:pt x="743263" y="751315"/>
                </a:cubicBezTo>
                <a:cubicBezTo>
                  <a:pt x="743263" y="751315"/>
                  <a:pt x="742548" y="751315"/>
                  <a:pt x="742548" y="752029"/>
                </a:cubicBezTo>
                <a:cubicBezTo>
                  <a:pt x="741118" y="752029"/>
                  <a:pt x="739689" y="752743"/>
                  <a:pt x="738260" y="753458"/>
                </a:cubicBezTo>
                <a:cubicBezTo>
                  <a:pt x="731828" y="755600"/>
                  <a:pt x="725396" y="757028"/>
                  <a:pt x="718964" y="757743"/>
                </a:cubicBezTo>
                <a:cubicBezTo>
                  <a:pt x="718964" y="757743"/>
                  <a:pt x="718964" y="757743"/>
                  <a:pt x="624626" y="767027"/>
                </a:cubicBezTo>
                <a:cubicBezTo>
                  <a:pt x="662504" y="781310"/>
                  <a:pt x="703241" y="787023"/>
                  <a:pt x="743263" y="784167"/>
                </a:cubicBezTo>
                <a:cubicBezTo>
                  <a:pt x="753983" y="783453"/>
                  <a:pt x="764703" y="782024"/>
                  <a:pt x="775423" y="779882"/>
                </a:cubicBezTo>
                <a:cubicBezTo>
                  <a:pt x="778996" y="779168"/>
                  <a:pt x="781855" y="778453"/>
                  <a:pt x="785428" y="777739"/>
                </a:cubicBezTo>
                <a:cubicBezTo>
                  <a:pt x="786143" y="777739"/>
                  <a:pt x="786143" y="777739"/>
                  <a:pt x="786858" y="777025"/>
                </a:cubicBezTo>
                <a:cubicBezTo>
                  <a:pt x="790431" y="776311"/>
                  <a:pt x="793290" y="775597"/>
                  <a:pt x="796863" y="774883"/>
                </a:cubicBezTo>
                <a:cubicBezTo>
                  <a:pt x="806869" y="772026"/>
                  <a:pt x="816874" y="768455"/>
                  <a:pt x="826880" y="764170"/>
                </a:cubicBezTo>
                <a:cubicBezTo>
                  <a:pt x="857611" y="752029"/>
                  <a:pt x="885483" y="734175"/>
                  <a:pt x="909782" y="711322"/>
                </a:cubicBezTo>
                <a:cubicBezTo>
                  <a:pt x="916214" y="705608"/>
                  <a:pt x="921931" y="699181"/>
                  <a:pt x="928363" y="692753"/>
                </a:cubicBezTo>
                <a:cubicBezTo>
                  <a:pt x="928363" y="692753"/>
                  <a:pt x="928363" y="692753"/>
                  <a:pt x="975532" y="639191"/>
                </a:cubicBezTo>
                <a:cubicBezTo>
                  <a:pt x="976961" y="637763"/>
                  <a:pt x="977676" y="637048"/>
                  <a:pt x="978391" y="635620"/>
                </a:cubicBezTo>
                <a:cubicBezTo>
                  <a:pt x="979105" y="635620"/>
                  <a:pt x="979105" y="635620"/>
                  <a:pt x="979105" y="635620"/>
                </a:cubicBezTo>
                <a:cubicBezTo>
                  <a:pt x="994114" y="620623"/>
                  <a:pt x="1013410" y="612053"/>
                  <a:pt x="1034135" y="610624"/>
                </a:cubicBezTo>
                <a:cubicBezTo>
                  <a:pt x="1034850" y="610624"/>
                  <a:pt x="1034850" y="610624"/>
                  <a:pt x="1034850" y="610624"/>
                </a:cubicBezTo>
                <a:cubicBezTo>
                  <a:pt x="1036279" y="610624"/>
                  <a:pt x="1037709" y="610624"/>
                  <a:pt x="1039138" y="610624"/>
                </a:cubicBezTo>
                <a:cubicBezTo>
                  <a:pt x="1039138" y="610624"/>
                  <a:pt x="1039853" y="610624"/>
                  <a:pt x="1040567" y="610624"/>
                </a:cubicBezTo>
                <a:cubicBezTo>
                  <a:pt x="1054146" y="610624"/>
                  <a:pt x="1067725" y="614909"/>
                  <a:pt x="1079875" y="621337"/>
                </a:cubicBezTo>
                <a:cubicBezTo>
                  <a:pt x="1081304" y="622051"/>
                  <a:pt x="1082019" y="622765"/>
                  <a:pt x="1083448" y="623479"/>
                </a:cubicBezTo>
                <a:cubicBezTo>
                  <a:pt x="1084877" y="624193"/>
                  <a:pt x="1085592" y="624908"/>
                  <a:pt x="1086307" y="624908"/>
                </a:cubicBezTo>
                <a:cubicBezTo>
                  <a:pt x="1087021" y="625622"/>
                  <a:pt x="1087021" y="625622"/>
                  <a:pt x="1087021" y="625622"/>
                </a:cubicBezTo>
                <a:cubicBezTo>
                  <a:pt x="1087736" y="626336"/>
                  <a:pt x="1089165" y="627050"/>
                  <a:pt x="1089880" y="627764"/>
                </a:cubicBezTo>
                <a:cubicBezTo>
                  <a:pt x="1089880" y="627764"/>
                  <a:pt x="1090595" y="628478"/>
                  <a:pt x="1090595" y="628478"/>
                </a:cubicBezTo>
                <a:cubicBezTo>
                  <a:pt x="1091309" y="629193"/>
                  <a:pt x="1092024" y="629193"/>
                  <a:pt x="1092739" y="629907"/>
                </a:cubicBezTo>
                <a:cubicBezTo>
                  <a:pt x="1093453" y="630621"/>
                  <a:pt x="1094168" y="631335"/>
                  <a:pt x="1095597" y="632049"/>
                </a:cubicBezTo>
                <a:cubicBezTo>
                  <a:pt x="1095597" y="632049"/>
                  <a:pt x="1095597" y="632763"/>
                  <a:pt x="1095597" y="632763"/>
                </a:cubicBezTo>
                <a:cubicBezTo>
                  <a:pt x="1129902" y="663473"/>
                  <a:pt x="1133475" y="714893"/>
                  <a:pt x="1103459" y="749887"/>
                </a:cubicBezTo>
                <a:cubicBezTo>
                  <a:pt x="1103459" y="749887"/>
                  <a:pt x="1103459" y="749887"/>
                  <a:pt x="1072013" y="787738"/>
                </a:cubicBezTo>
                <a:cubicBezTo>
                  <a:pt x="1040567" y="824160"/>
                  <a:pt x="1004834" y="857012"/>
                  <a:pt x="966241" y="884150"/>
                </a:cubicBezTo>
                <a:cubicBezTo>
                  <a:pt x="963383" y="886292"/>
                  <a:pt x="959809" y="888435"/>
                  <a:pt x="956950" y="890577"/>
                </a:cubicBezTo>
                <a:cubicBezTo>
                  <a:pt x="954092" y="892720"/>
                  <a:pt x="951233" y="894862"/>
                  <a:pt x="948374" y="896291"/>
                </a:cubicBezTo>
                <a:cubicBezTo>
                  <a:pt x="904779" y="924857"/>
                  <a:pt x="856896" y="947711"/>
                  <a:pt x="806154" y="963422"/>
                </a:cubicBezTo>
                <a:cubicBezTo>
                  <a:pt x="801866" y="964851"/>
                  <a:pt x="797578" y="966279"/>
                  <a:pt x="792575" y="967707"/>
                </a:cubicBezTo>
                <a:cubicBezTo>
                  <a:pt x="791146" y="967707"/>
                  <a:pt x="789716" y="968422"/>
                  <a:pt x="788287" y="968422"/>
                </a:cubicBezTo>
                <a:cubicBezTo>
                  <a:pt x="785428" y="969136"/>
                  <a:pt x="782570" y="970564"/>
                  <a:pt x="779711" y="971278"/>
                </a:cubicBezTo>
                <a:cubicBezTo>
                  <a:pt x="777567" y="971278"/>
                  <a:pt x="775423" y="971992"/>
                  <a:pt x="773994" y="972707"/>
                </a:cubicBezTo>
                <a:cubicBezTo>
                  <a:pt x="771135" y="973421"/>
                  <a:pt x="768991" y="973421"/>
                  <a:pt x="766132" y="974135"/>
                </a:cubicBezTo>
                <a:cubicBezTo>
                  <a:pt x="763988" y="974849"/>
                  <a:pt x="761844" y="975563"/>
                  <a:pt x="759700" y="976277"/>
                </a:cubicBezTo>
                <a:cubicBezTo>
                  <a:pt x="757556" y="976277"/>
                  <a:pt x="756127" y="976992"/>
                  <a:pt x="753983" y="976992"/>
                </a:cubicBezTo>
                <a:cubicBezTo>
                  <a:pt x="743977" y="979134"/>
                  <a:pt x="733972" y="981277"/>
                  <a:pt x="724681" y="983419"/>
                </a:cubicBezTo>
                <a:cubicBezTo>
                  <a:pt x="723252" y="983419"/>
                  <a:pt x="722537" y="983419"/>
                  <a:pt x="721822" y="983419"/>
                </a:cubicBezTo>
                <a:cubicBezTo>
                  <a:pt x="718249" y="984133"/>
                  <a:pt x="714676" y="984847"/>
                  <a:pt x="711102" y="985562"/>
                </a:cubicBezTo>
                <a:cubicBezTo>
                  <a:pt x="710387" y="985562"/>
                  <a:pt x="710387" y="985562"/>
                  <a:pt x="709673" y="985562"/>
                </a:cubicBezTo>
                <a:cubicBezTo>
                  <a:pt x="689662" y="988418"/>
                  <a:pt x="670366" y="990561"/>
                  <a:pt x="650355" y="991989"/>
                </a:cubicBezTo>
                <a:cubicBezTo>
                  <a:pt x="649640" y="991989"/>
                  <a:pt x="648925" y="991989"/>
                  <a:pt x="648211" y="991989"/>
                </a:cubicBezTo>
                <a:cubicBezTo>
                  <a:pt x="644637" y="991989"/>
                  <a:pt x="641064" y="991989"/>
                  <a:pt x="637491" y="992703"/>
                </a:cubicBezTo>
                <a:cubicBezTo>
                  <a:pt x="636776" y="992703"/>
                  <a:pt x="636061" y="992703"/>
                  <a:pt x="635347" y="992703"/>
                </a:cubicBezTo>
                <a:cubicBezTo>
                  <a:pt x="630344" y="992703"/>
                  <a:pt x="626056" y="992703"/>
                  <a:pt x="621053" y="992703"/>
                </a:cubicBezTo>
                <a:cubicBezTo>
                  <a:pt x="621053" y="992703"/>
                  <a:pt x="620338" y="992703"/>
                  <a:pt x="620338" y="992703"/>
                </a:cubicBezTo>
                <a:cubicBezTo>
                  <a:pt x="617480" y="992703"/>
                  <a:pt x="614621" y="992703"/>
                  <a:pt x="612477" y="992703"/>
                </a:cubicBezTo>
                <a:cubicBezTo>
                  <a:pt x="610333" y="992703"/>
                  <a:pt x="608189" y="992703"/>
                  <a:pt x="606045" y="992703"/>
                </a:cubicBezTo>
                <a:cubicBezTo>
                  <a:pt x="603901" y="992703"/>
                  <a:pt x="601042" y="992703"/>
                  <a:pt x="598898" y="992703"/>
                </a:cubicBezTo>
                <a:cubicBezTo>
                  <a:pt x="596754" y="992703"/>
                  <a:pt x="594610" y="992703"/>
                  <a:pt x="592466" y="992703"/>
                </a:cubicBezTo>
                <a:cubicBezTo>
                  <a:pt x="589607" y="992703"/>
                  <a:pt x="587463" y="992703"/>
                  <a:pt x="584605" y="991989"/>
                </a:cubicBezTo>
                <a:cubicBezTo>
                  <a:pt x="582461" y="991989"/>
                  <a:pt x="581031" y="991989"/>
                  <a:pt x="578887" y="991989"/>
                </a:cubicBezTo>
                <a:cubicBezTo>
                  <a:pt x="575314" y="991989"/>
                  <a:pt x="571026" y="991275"/>
                  <a:pt x="566738" y="991275"/>
                </a:cubicBezTo>
                <a:cubicBezTo>
                  <a:pt x="566738" y="991275"/>
                  <a:pt x="566023" y="991275"/>
                  <a:pt x="566023" y="991275"/>
                </a:cubicBezTo>
                <a:cubicBezTo>
                  <a:pt x="566023" y="991275"/>
                  <a:pt x="566023" y="991275"/>
                  <a:pt x="485265" y="985562"/>
                </a:cubicBezTo>
                <a:cubicBezTo>
                  <a:pt x="485265" y="985562"/>
                  <a:pt x="485265" y="985562"/>
                  <a:pt x="416656" y="980562"/>
                </a:cubicBezTo>
                <a:cubicBezTo>
                  <a:pt x="415227" y="980562"/>
                  <a:pt x="413083" y="980562"/>
                  <a:pt x="410939" y="980562"/>
                </a:cubicBezTo>
                <a:cubicBezTo>
                  <a:pt x="410224" y="980562"/>
                  <a:pt x="408794" y="980562"/>
                  <a:pt x="407365" y="980562"/>
                </a:cubicBezTo>
                <a:cubicBezTo>
                  <a:pt x="402362" y="980562"/>
                  <a:pt x="398074" y="981277"/>
                  <a:pt x="393072" y="981991"/>
                </a:cubicBezTo>
                <a:cubicBezTo>
                  <a:pt x="391642" y="982705"/>
                  <a:pt x="390213" y="982705"/>
                  <a:pt x="388784" y="982705"/>
                </a:cubicBezTo>
                <a:cubicBezTo>
                  <a:pt x="388784" y="983419"/>
                  <a:pt x="388784" y="983419"/>
                  <a:pt x="388784" y="983419"/>
                </a:cubicBezTo>
                <a:cubicBezTo>
                  <a:pt x="387354" y="983419"/>
                  <a:pt x="385925" y="984133"/>
                  <a:pt x="384496" y="984133"/>
                </a:cubicBezTo>
                <a:cubicBezTo>
                  <a:pt x="384496" y="984133"/>
                  <a:pt x="384496" y="984133"/>
                  <a:pt x="383781" y="984847"/>
                </a:cubicBezTo>
                <a:cubicBezTo>
                  <a:pt x="382352" y="984847"/>
                  <a:pt x="380922" y="985562"/>
                  <a:pt x="379493" y="986276"/>
                </a:cubicBezTo>
                <a:cubicBezTo>
                  <a:pt x="379493" y="986276"/>
                  <a:pt x="379493" y="986276"/>
                  <a:pt x="21441" y="1124824"/>
                </a:cubicBezTo>
                <a:cubicBezTo>
                  <a:pt x="20011" y="1125538"/>
                  <a:pt x="17867" y="1125538"/>
                  <a:pt x="15723" y="1125538"/>
                </a:cubicBezTo>
                <a:cubicBezTo>
                  <a:pt x="12864" y="1125538"/>
                  <a:pt x="10006" y="1124824"/>
                  <a:pt x="7147" y="1122681"/>
                </a:cubicBezTo>
                <a:cubicBezTo>
                  <a:pt x="2859" y="1119825"/>
                  <a:pt x="0" y="1114826"/>
                  <a:pt x="0" y="1109826"/>
                </a:cubicBezTo>
                <a:cubicBezTo>
                  <a:pt x="0" y="1109826"/>
                  <a:pt x="0" y="1109826"/>
                  <a:pt x="0" y="793451"/>
                </a:cubicBezTo>
                <a:cubicBezTo>
                  <a:pt x="0" y="787738"/>
                  <a:pt x="3574" y="782738"/>
                  <a:pt x="7862" y="779882"/>
                </a:cubicBezTo>
                <a:cubicBezTo>
                  <a:pt x="7862" y="779882"/>
                  <a:pt x="7862" y="779882"/>
                  <a:pt x="310169" y="608482"/>
                </a:cubicBezTo>
                <a:cubicBezTo>
                  <a:pt x="311599" y="607053"/>
                  <a:pt x="313743" y="606339"/>
                  <a:pt x="315887" y="605625"/>
                </a:cubicBezTo>
                <a:cubicBezTo>
                  <a:pt x="316601" y="604911"/>
                  <a:pt x="317316" y="604911"/>
                  <a:pt x="318031" y="604197"/>
                </a:cubicBezTo>
                <a:cubicBezTo>
                  <a:pt x="318745" y="603483"/>
                  <a:pt x="320175" y="602768"/>
                  <a:pt x="320889" y="602768"/>
                </a:cubicBezTo>
                <a:cubicBezTo>
                  <a:pt x="322319" y="602054"/>
                  <a:pt x="323033" y="601340"/>
                  <a:pt x="324463" y="601340"/>
                </a:cubicBezTo>
                <a:cubicBezTo>
                  <a:pt x="325177" y="600626"/>
                  <a:pt x="325892" y="600626"/>
                  <a:pt x="326607" y="599912"/>
                </a:cubicBezTo>
                <a:cubicBezTo>
                  <a:pt x="328036" y="599198"/>
                  <a:pt x="329466" y="599198"/>
                  <a:pt x="330180" y="598483"/>
                </a:cubicBezTo>
                <a:cubicBezTo>
                  <a:pt x="330895" y="598483"/>
                  <a:pt x="331610" y="597769"/>
                  <a:pt x="332324" y="597769"/>
                </a:cubicBezTo>
                <a:cubicBezTo>
                  <a:pt x="333754" y="597055"/>
                  <a:pt x="335183" y="596341"/>
                  <a:pt x="336612" y="596341"/>
                </a:cubicBezTo>
                <a:cubicBezTo>
                  <a:pt x="336612" y="595627"/>
                  <a:pt x="337327" y="595627"/>
                  <a:pt x="338042" y="595627"/>
                </a:cubicBezTo>
                <a:cubicBezTo>
                  <a:pt x="339471" y="594913"/>
                  <a:pt x="340900" y="594198"/>
                  <a:pt x="342330" y="594198"/>
                </a:cubicBezTo>
                <a:cubicBezTo>
                  <a:pt x="343044" y="593484"/>
                  <a:pt x="343044" y="593484"/>
                  <a:pt x="343044" y="593484"/>
                </a:cubicBezTo>
                <a:cubicBezTo>
                  <a:pt x="345188" y="592770"/>
                  <a:pt x="346618" y="592770"/>
                  <a:pt x="348047" y="592056"/>
                </a:cubicBezTo>
                <a:cubicBezTo>
                  <a:pt x="348762" y="592056"/>
                  <a:pt x="348762" y="592056"/>
                  <a:pt x="348762" y="592056"/>
                </a:cubicBezTo>
                <a:cubicBezTo>
                  <a:pt x="360197" y="588485"/>
                  <a:pt x="370917" y="586343"/>
                  <a:pt x="382352" y="584914"/>
                </a:cubicBezTo>
                <a:cubicBezTo>
                  <a:pt x="383066" y="584914"/>
                  <a:pt x="383781" y="584914"/>
                  <a:pt x="383781" y="584914"/>
                </a:cubicBezTo>
                <a:cubicBezTo>
                  <a:pt x="385210" y="584914"/>
                  <a:pt x="386640" y="584914"/>
                  <a:pt x="387354" y="584914"/>
                </a:cubicBezTo>
                <a:cubicBezTo>
                  <a:pt x="388784" y="584914"/>
                  <a:pt x="389498" y="584914"/>
                  <a:pt x="390213" y="584200"/>
                </a:cubicBezTo>
                <a:close/>
                <a:moveTo>
                  <a:pt x="654433" y="103187"/>
                </a:moveTo>
                <a:cubicBezTo>
                  <a:pt x="686457" y="103187"/>
                  <a:pt x="686457" y="103187"/>
                  <a:pt x="686457" y="103187"/>
                </a:cubicBezTo>
                <a:cubicBezTo>
                  <a:pt x="686457" y="126776"/>
                  <a:pt x="686457" y="126776"/>
                  <a:pt x="686457" y="126776"/>
                </a:cubicBezTo>
                <a:cubicBezTo>
                  <a:pt x="702825" y="128920"/>
                  <a:pt x="716346" y="132495"/>
                  <a:pt x="724174" y="139643"/>
                </a:cubicBezTo>
                <a:cubicBezTo>
                  <a:pt x="714211" y="169665"/>
                  <a:pt x="714211" y="169665"/>
                  <a:pt x="714211" y="169665"/>
                </a:cubicBezTo>
                <a:cubicBezTo>
                  <a:pt x="700690" y="161087"/>
                  <a:pt x="687169" y="156083"/>
                  <a:pt x="672936" y="156083"/>
                </a:cubicBezTo>
                <a:cubicBezTo>
                  <a:pt x="665108" y="156083"/>
                  <a:pt x="658703" y="158228"/>
                  <a:pt x="653722" y="162517"/>
                </a:cubicBezTo>
                <a:cubicBezTo>
                  <a:pt x="648740" y="167520"/>
                  <a:pt x="646605" y="172524"/>
                  <a:pt x="646605" y="179672"/>
                </a:cubicBezTo>
                <a:cubicBezTo>
                  <a:pt x="646605" y="191109"/>
                  <a:pt x="659415" y="203261"/>
                  <a:pt x="685034" y="215413"/>
                </a:cubicBezTo>
                <a:cubicBezTo>
                  <a:pt x="698555" y="222561"/>
                  <a:pt x="709230" y="228280"/>
                  <a:pt x="715634" y="233998"/>
                </a:cubicBezTo>
                <a:cubicBezTo>
                  <a:pt x="722039" y="239717"/>
                  <a:pt x="725597" y="246150"/>
                  <a:pt x="729155" y="253298"/>
                </a:cubicBezTo>
                <a:cubicBezTo>
                  <a:pt x="732002" y="261161"/>
                  <a:pt x="733425" y="269024"/>
                  <a:pt x="733425" y="278317"/>
                </a:cubicBezTo>
                <a:cubicBezTo>
                  <a:pt x="733425" y="290469"/>
                  <a:pt x="729867" y="301906"/>
                  <a:pt x="721327" y="311198"/>
                </a:cubicBezTo>
                <a:cubicBezTo>
                  <a:pt x="712788" y="320491"/>
                  <a:pt x="700690" y="327639"/>
                  <a:pt x="686457" y="331213"/>
                </a:cubicBezTo>
                <a:cubicBezTo>
                  <a:pt x="686457" y="361950"/>
                  <a:pt x="686457" y="361950"/>
                  <a:pt x="686457" y="361950"/>
                </a:cubicBezTo>
                <a:cubicBezTo>
                  <a:pt x="654433" y="361950"/>
                  <a:pt x="654433" y="361950"/>
                  <a:pt x="654433" y="361950"/>
                </a:cubicBezTo>
                <a:cubicBezTo>
                  <a:pt x="654433" y="332643"/>
                  <a:pt x="654433" y="332643"/>
                  <a:pt x="654433" y="332643"/>
                </a:cubicBezTo>
                <a:cubicBezTo>
                  <a:pt x="638777" y="332643"/>
                  <a:pt x="623833" y="327639"/>
                  <a:pt x="609600" y="319061"/>
                </a:cubicBezTo>
                <a:cubicBezTo>
                  <a:pt x="623833" y="287609"/>
                  <a:pt x="623833" y="287609"/>
                  <a:pt x="623833" y="287609"/>
                </a:cubicBezTo>
                <a:cubicBezTo>
                  <a:pt x="638066" y="296902"/>
                  <a:pt x="652299" y="301906"/>
                  <a:pt x="665820" y="301906"/>
                </a:cubicBezTo>
                <a:cubicBezTo>
                  <a:pt x="687169" y="301906"/>
                  <a:pt x="697132" y="294758"/>
                  <a:pt x="697132" y="280461"/>
                </a:cubicBezTo>
                <a:cubicBezTo>
                  <a:pt x="697132" y="273313"/>
                  <a:pt x="694997" y="266165"/>
                  <a:pt x="689304" y="259732"/>
                </a:cubicBezTo>
                <a:cubicBezTo>
                  <a:pt x="683611" y="254013"/>
                  <a:pt x="673648" y="246865"/>
                  <a:pt x="658703" y="239002"/>
                </a:cubicBezTo>
                <a:cubicBezTo>
                  <a:pt x="643047" y="231854"/>
                  <a:pt x="633084" y="225420"/>
                  <a:pt x="627391" y="220417"/>
                </a:cubicBezTo>
                <a:cubicBezTo>
                  <a:pt x="621698" y="215413"/>
                  <a:pt x="618140" y="209695"/>
                  <a:pt x="613870" y="202546"/>
                </a:cubicBezTo>
                <a:cubicBezTo>
                  <a:pt x="611735" y="195398"/>
                  <a:pt x="610312" y="188250"/>
                  <a:pt x="610312" y="179672"/>
                </a:cubicBezTo>
                <a:cubicBezTo>
                  <a:pt x="610312" y="167520"/>
                  <a:pt x="613870" y="156083"/>
                  <a:pt x="623121" y="147506"/>
                </a:cubicBezTo>
                <a:cubicBezTo>
                  <a:pt x="630949" y="138213"/>
                  <a:pt x="640912" y="131780"/>
                  <a:pt x="654433" y="128920"/>
                </a:cubicBezTo>
                <a:cubicBezTo>
                  <a:pt x="654433" y="103187"/>
                  <a:pt x="654433" y="103187"/>
                  <a:pt x="654433" y="103187"/>
                </a:cubicBezTo>
                <a:close/>
                <a:moveTo>
                  <a:pt x="746125" y="63501"/>
                </a:moveTo>
                <a:cubicBezTo>
                  <a:pt x="746125" y="63501"/>
                  <a:pt x="746125" y="63501"/>
                  <a:pt x="1039803" y="63501"/>
                </a:cubicBezTo>
                <a:cubicBezTo>
                  <a:pt x="1042661" y="84847"/>
                  <a:pt x="1060524" y="101923"/>
                  <a:pt x="1082675" y="102635"/>
                </a:cubicBezTo>
                <a:cubicBezTo>
                  <a:pt x="1082675" y="102635"/>
                  <a:pt x="1082675" y="102635"/>
                  <a:pt x="1082675" y="364475"/>
                </a:cubicBezTo>
                <a:cubicBezTo>
                  <a:pt x="1061953" y="365187"/>
                  <a:pt x="1044804" y="380129"/>
                  <a:pt x="1040517" y="400051"/>
                </a:cubicBezTo>
                <a:cubicBezTo>
                  <a:pt x="1040517" y="400051"/>
                  <a:pt x="1040517" y="400051"/>
                  <a:pt x="748269" y="400051"/>
                </a:cubicBezTo>
                <a:cubicBezTo>
                  <a:pt x="783282" y="362340"/>
                  <a:pt x="812578" y="301150"/>
                  <a:pt x="812578" y="232843"/>
                </a:cubicBezTo>
                <a:cubicBezTo>
                  <a:pt x="812578" y="163114"/>
                  <a:pt x="782567" y="101212"/>
                  <a:pt x="746125" y="63501"/>
                </a:cubicBezTo>
                <a:close/>
                <a:moveTo>
                  <a:pt x="301794" y="63501"/>
                </a:moveTo>
                <a:lnTo>
                  <a:pt x="596900" y="63501"/>
                </a:lnTo>
                <a:cubicBezTo>
                  <a:pt x="560459" y="101212"/>
                  <a:pt x="529733" y="163114"/>
                  <a:pt x="529733" y="232843"/>
                </a:cubicBezTo>
                <a:cubicBezTo>
                  <a:pt x="529733" y="301150"/>
                  <a:pt x="559744" y="362340"/>
                  <a:pt x="594757" y="400051"/>
                </a:cubicBezTo>
                <a:cubicBezTo>
                  <a:pt x="594757" y="400051"/>
                  <a:pt x="594757" y="400051"/>
                  <a:pt x="301079" y="400051"/>
                </a:cubicBezTo>
                <a:cubicBezTo>
                  <a:pt x="297507" y="380840"/>
                  <a:pt x="280357" y="366610"/>
                  <a:pt x="260350" y="365187"/>
                </a:cubicBezTo>
                <a:cubicBezTo>
                  <a:pt x="260350" y="365187"/>
                  <a:pt x="260350" y="365187"/>
                  <a:pt x="260350" y="102635"/>
                </a:cubicBezTo>
                <a:cubicBezTo>
                  <a:pt x="281787" y="101212"/>
                  <a:pt x="298936" y="84135"/>
                  <a:pt x="301794" y="63501"/>
                </a:cubicBezTo>
                <a:close/>
                <a:moveTo>
                  <a:pt x="228600" y="31750"/>
                </a:moveTo>
                <a:lnTo>
                  <a:pt x="228600" y="431800"/>
                </a:lnTo>
                <a:lnTo>
                  <a:pt x="1114425" y="431800"/>
                </a:lnTo>
                <a:lnTo>
                  <a:pt x="1114425" y="31750"/>
                </a:lnTo>
                <a:close/>
                <a:moveTo>
                  <a:pt x="209003" y="0"/>
                </a:moveTo>
                <a:cubicBezTo>
                  <a:pt x="1134023" y="0"/>
                  <a:pt x="1134023" y="0"/>
                  <a:pt x="1134023" y="0"/>
                </a:cubicBezTo>
                <a:cubicBezTo>
                  <a:pt x="1141171" y="0"/>
                  <a:pt x="1146175" y="5000"/>
                  <a:pt x="1146175" y="11428"/>
                </a:cubicBezTo>
                <a:cubicBezTo>
                  <a:pt x="1146175" y="451408"/>
                  <a:pt x="1146175" y="451408"/>
                  <a:pt x="1146175" y="451408"/>
                </a:cubicBezTo>
                <a:cubicBezTo>
                  <a:pt x="1146175" y="457836"/>
                  <a:pt x="1141171" y="463550"/>
                  <a:pt x="1134023" y="463550"/>
                </a:cubicBezTo>
                <a:cubicBezTo>
                  <a:pt x="209003" y="463550"/>
                  <a:pt x="209003" y="463550"/>
                  <a:pt x="209003" y="463550"/>
                </a:cubicBezTo>
                <a:cubicBezTo>
                  <a:pt x="202569" y="463550"/>
                  <a:pt x="196850" y="457836"/>
                  <a:pt x="196850" y="451408"/>
                </a:cubicBezTo>
                <a:cubicBezTo>
                  <a:pt x="196850" y="11428"/>
                  <a:pt x="196850" y="11428"/>
                  <a:pt x="196850" y="11428"/>
                </a:cubicBezTo>
                <a:cubicBezTo>
                  <a:pt x="196850" y="5000"/>
                  <a:pt x="202569" y="0"/>
                  <a:pt x="209003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630000" y="1728222"/>
            <a:ext cx="767241" cy="767241"/>
            <a:chOff x="5273675" y="2570163"/>
            <a:chExt cx="1644650" cy="1644650"/>
          </a:xfrm>
        </p:grpSpPr>
        <p:sp>
          <p:nvSpPr>
            <p:cNvPr id="17" name="AutoShape 17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421313" y="2741613"/>
              <a:ext cx="1346200" cy="1303338"/>
              <a:chOff x="5421313" y="2741613"/>
              <a:chExt cx="1346200" cy="1303338"/>
            </a:xfrm>
          </p:grpSpPr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5805488" y="2741613"/>
                <a:ext cx="638175" cy="1303338"/>
              </a:xfrm>
              <a:custGeom>
                <a:avLst/>
                <a:gdLst>
                  <a:gd name="connsiteX0" fmla="*/ 290513 w 638175"/>
                  <a:gd name="connsiteY0" fmla="*/ 876300 h 1303338"/>
                  <a:gd name="connsiteX1" fmla="*/ 250825 w 638175"/>
                  <a:gd name="connsiteY1" fmla="*/ 915988 h 1303338"/>
                  <a:gd name="connsiteX2" fmla="*/ 290513 w 638175"/>
                  <a:gd name="connsiteY2" fmla="*/ 955676 h 1303338"/>
                  <a:gd name="connsiteX3" fmla="*/ 330201 w 638175"/>
                  <a:gd name="connsiteY3" fmla="*/ 915988 h 1303338"/>
                  <a:gd name="connsiteX4" fmla="*/ 290513 w 638175"/>
                  <a:gd name="connsiteY4" fmla="*/ 876300 h 1303338"/>
                  <a:gd name="connsiteX5" fmla="*/ 193494 w 638175"/>
                  <a:gd name="connsiteY5" fmla="*/ 828675 h 1303338"/>
                  <a:gd name="connsiteX6" fmla="*/ 387531 w 638175"/>
                  <a:gd name="connsiteY6" fmla="*/ 828675 h 1303338"/>
                  <a:gd name="connsiteX7" fmla="*/ 403225 w 638175"/>
                  <a:gd name="connsiteY7" fmla="*/ 844402 h 1303338"/>
                  <a:gd name="connsiteX8" fmla="*/ 403225 w 638175"/>
                  <a:gd name="connsiteY8" fmla="*/ 1287611 h 1303338"/>
                  <a:gd name="connsiteX9" fmla="*/ 387531 w 638175"/>
                  <a:gd name="connsiteY9" fmla="*/ 1303338 h 1303338"/>
                  <a:gd name="connsiteX10" fmla="*/ 193494 w 638175"/>
                  <a:gd name="connsiteY10" fmla="*/ 1303338 h 1303338"/>
                  <a:gd name="connsiteX11" fmla="*/ 177800 w 638175"/>
                  <a:gd name="connsiteY11" fmla="*/ 1287611 h 1303338"/>
                  <a:gd name="connsiteX12" fmla="*/ 177800 w 638175"/>
                  <a:gd name="connsiteY12" fmla="*/ 844402 h 1303338"/>
                  <a:gd name="connsiteX13" fmla="*/ 193494 w 638175"/>
                  <a:gd name="connsiteY13" fmla="*/ 828675 h 1303338"/>
                  <a:gd name="connsiteX14" fmla="*/ 219075 w 638175"/>
                  <a:gd name="connsiteY14" fmla="*/ 466725 h 1303338"/>
                  <a:gd name="connsiteX15" fmla="*/ 193675 w 638175"/>
                  <a:gd name="connsiteY15" fmla="*/ 544513 h 1303338"/>
                  <a:gd name="connsiteX16" fmla="*/ 244475 w 638175"/>
                  <a:gd name="connsiteY16" fmla="*/ 544513 h 1303338"/>
                  <a:gd name="connsiteX17" fmla="*/ 219075 w 638175"/>
                  <a:gd name="connsiteY17" fmla="*/ 466725 h 1303338"/>
                  <a:gd name="connsiteX18" fmla="*/ 47214 w 638175"/>
                  <a:gd name="connsiteY18" fmla="*/ 438150 h 1303338"/>
                  <a:gd name="connsiteX19" fmla="*/ 36512 w 638175"/>
                  <a:gd name="connsiteY19" fmla="*/ 438869 h 1303338"/>
                  <a:gd name="connsiteX20" fmla="*/ 36512 w 638175"/>
                  <a:gd name="connsiteY20" fmla="*/ 504976 h 1303338"/>
                  <a:gd name="connsiteX21" fmla="*/ 51495 w 638175"/>
                  <a:gd name="connsiteY21" fmla="*/ 506413 h 1303338"/>
                  <a:gd name="connsiteX22" fmla="*/ 88597 w 638175"/>
                  <a:gd name="connsiteY22" fmla="*/ 497790 h 1303338"/>
                  <a:gd name="connsiteX23" fmla="*/ 100012 w 638175"/>
                  <a:gd name="connsiteY23" fmla="*/ 470485 h 1303338"/>
                  <a:gd name="connsiteX24" fmla="*/ 47214 w 638175"/>
                  <a:gd name="connsiteY24" fmla="*/ 438150 h 1303338"/>
                  <a:gd name="connsiteX25" fmla="*/ 463550 w 638175"/>
                  <a:gd name="connsiteY25" fmla="*/ 406400 h 1303338"/>
                  <a:gd name="connsiteX26" fmla="*/ 638175 w 638175"/>
                  <a:gd name="connsiteY26" fmla="*/ 406400 h 1303338"/>
                  <a:gd name="connsiteX27" fmla="*/ 638175 w 638175"/>
                  <a:gd name="connsiteY27" fmla="*/ 439299 h 1303338"/>
                  <a:gd name="connsiteX28" fmla="*/ 568039 w 638175"/>
                  <a:gd name="connsiteY28" fmla="*/ 439299 h 1303338"/>
                  <a:gd name="connsiteX29" fmla="*/ 568039 w 638175"/>
                  <a:gd name="connsiteY29" fmla="*/ 615950 h 1303338"/>
                  <a:gd name="connsiteX30" fmla="*/ 530824 w 638175"/>
                  <a:gd name="connsiteY30" fmla="*/ 615950 h 1303338"/>
                  <a:gd name="connsiteX31" fmla="*/ 530824 w 638175"/>
                  <a:gd name="connsiteY31" fmla="*/ 439299 h 1303338"/>
                  <a:gd name="connsiteX32" fmla="*/ 463550 w 638175"/>
                  <a:gd name="connsiteY32" fmla="*/ 439299 h 1303338"/>
                  <a:gd name="connsiteX33" fmla="*/ 463550 w 638175"/>
                  <a:gd name="connsiteY33" fmla="*/ 406400 h 1303338"/>
                  <a:gd name="connsiteX34" fmla="*/ 42716 w 638175"/>
                  <a:gd name="connsiteY34" fmla="*/ 404813 h 1303338"/>
                  <a:gd name="connsiteX35" fmla="*/ 115332 w 638175"/>
                  <a:gd name="connsiteY35" fmla="*/ 419894 h 1303338"/>
                  <a:gd name="connsiteX36" fmla="*/ 138113 w 638175"/>
                  <a:gd name="connsiteY36" fmla="*/ 468011 h 1303338"/>
                  <a:gd name="connsiteX37" fmla="*/ 53394 w 638175"/>
                  <a:gd name="connsiteY37" fmla="*/ 539827 h 1303338"/>
                  <a:gd name="connsiteX38" fmla="*/ 37020 w 638175"/>
                  <a:gd name="connsiteY38" fmla="*/ 539108 h 1303338"/>
                  <a:gd name="connsiteX39" fmla="*/ 37020 w 638175"/>
                  <a:gd name="connsiteY39" fmla="*/ 615951 h 1303338"/>
                  <a:gd name="connsiteX40" fmla="*/ 0 w 638175"/>
                  <a:gd name="connsiteY40" fmla="*/ 615951 h 1303338"/>
                  <a:gd name="connsiteX41" fmla="*/ 0 w 638175"/>
                  <a:gd name="connsiteY41" fmla="*/ 406249 h 1303338"/>
                  <a:gd name="connsiteX42" fmla="*/ 42716 w 638175"/>
                  <a:gd name="connsiteY42" fmla="*/ 404813 h 1303338"/>
                  <a:gd name="connsiteX43" fmla="*/ 387705 w 638175"/>
                  <a:gd name="connsiteY43" fmla="*/ 403225 h 1303338"/>
                  <a:gd name="connsiteX44" fmla="*/ 440917 w 638175"/>
                  <a:gd name="connsiteY44" fmla="*/ 416763 h 1303338"/>
                  <a:gd name="connsiteX45" fmla="*/ 429565 w 638175"/>
                  <a:gd name="connsiteY45" fmla="*/ 448828 h 1303338"/>
                  <a:gd name="connsiteX46" fmla="*/ 388414 w 638175"/>
                  <a:gd name="connsiteY46" fmla="*/ 435289 h 1303338"/>
                  <a:gd name="connsiteX47" fmla="*/ 368549 w 638175"/>
                  <a:gd name="connsiteY47" fmla="*/ 441702 h 1303338"/>
                  <a:gd name="connsiteX48" fmla="*/ 361454 w 638175"/>
                  <a:gd name="connsiteY48" fmla="*/ 459516 h 1303338"/>
                  <a:gd name="connsiteX49" fmla="*/ 401185 w 638175"/>
                  <a:gd name="connsiteY49" fmla="*/ 496568 h 1303338"/>
                  <a:gd name="connsiteX50" fmla="*/ 431694 w 638175"/>
                  <a:gd name="connsiteY50" fmla="*/ 515807 h 1303338"/>
                  <a:gd name="connsiteX51" fmla="*/ 445884 w 638175"/>
                  <a:gd name="connsiteY51" fmla="*/ 535045 h 1303338"/>
                  <a:gd name="connsiteX52" fmla="*/ 450850 w 638175"/>
                  <a:gd name="connsiteY52" fmla="*/ 560697 h 1303338"/>
                  <a:gd name="connsiteX53" fmla="*/ 430275 w 638175"/>
                  <a:gd name="connsiteY53" fmla="*/ 602737 h 1303338"/>
                  <a:gd name="connsiteX54" fmla="*/ 377063 w 638175"/>
                  <a:gd name="connsiteY54" fmla="*/ 619125 h 1303338"/>
                  <a:gd name="connsiteX55" fmla="*/ 323850 w 638175"/>
                  <a:gd name="connsiteY55" fmla="*/ 604162 h 1303338"/>
                  <a:gd name="connsiteX56" fmla="*/ 337331 w 638175"/>
                  <a:gd name="connsiteY56" fmla="*/ 570672 h 1303338"/>
                  <a:gd name="connsiteX57" fmla="*/ 381320 w 638175"/>
                  <a:gd name="connsiteY57" fmla="*/ 585636 h 1303338"/>
                  <a:gd name="connsiteX58" fmla="*/ 413247 w 638175"/>
                  <a:gd name="connsiteY58" fmla="*/ 563547 h 1303338"/>
                  <a:gd name="connsiteX59" fmla="*/ 406152 w 638175"/>
                  <a:gd name="connsiteY59" fmla="*/ 542883 h 1303338"/>
                  <a:gd name="connsiteX60" fmla="*/ 374225 w 638175"/>
                  <a:gd name="connsiteY60" fmla="*/ 521507 h 1303338"/>
                  <a:gd name="connsiteX61" fmla="*/ 341588 w 638175"/>
                  <a:gd name="connsiteY61" fmla="*/ 501556 h 1303338"/>
                  <a:gd name="connsiteX62" fmla="*/ 328817 w 638175"/>
                  <a:gd name="connsiteY62" fmla="*/ 483030 h 1303338"/>
                  <a:gd name="connsiteX63" fmla="*/ 324560 w 638175"/>
                  <a:gd name="connsiteY63" fmla="*/ 459516 h 1303338"/>
                  <a:gd name="connsiteX64" fmla="*/ 342297 w 638175"/>
                  <a:gd name="connsiteY64" fmla="*/ 418901 h 1303338"/>
                  <a:gd name="connsiteX65" fmla="*/ 387705 w 638175"/>
                  <a:gd name="connsiteY65" fmla="*/ 403225 h 1303338"/>
                  <a:gd name="connsiteX66" fmla="*/ 210920 w 638175"/>
                  <a:gd name="connsiteY66" fmla="*/ 403225 h 1303338"/>
                  <a:gd name="connsiteX67" fmla="*/ 227386 w 638175"/>
                  <a:gd name="connsiteY67" fmla="*/ 403225 h 1303338"/>
                  <a:gd name="connsiteX68" fmla="*/ 311150 w 638175"/>
                  <a:gd name="connsiteY68" fmla="*/ 615950 h 1303338"/>
                  <a:gd name="connsiteX69" fmla="*/ 270342 w 638175"/>
                  <a:gd name="connsiteY69" fmla="*/ 615950 h 1303338"/>
                  <a:gd name="connsiteX70" fmla="*/ 254592 w 638175"/>
                  <a:gd name="connsiteY70" fmla="*/ 573833 h 1303338"/>
                  <a:gd name="connsiteX71" fmla="*/ 183714 w 638175"/>
                  <a:gd name="connsiteY71" fmla="*/ 573833 h 1303338"/>
                  <a:gd name="connsiteX72" fmla="*/ 169395 w 638175"/>
                  <a:gd name="connsiteY72" fmla="*/ 615950 h 1303338"/>
                  <a:gd name="connsiteX73" fmla="*/ 128587 w 638175"/>
                  <a:gd name="connsiteY73" fmla="*/ 615950 h 1303338"/>
                  <a:gd name="connsiteX74" fmla="*/ 210920 w 638175"/>
                  <a:gd name="connsiteY74" fmla="*/ 403225 h 1303338"/>
                  <a:gd name="connsiteX75" fmla="*/ 290513 w 638175"/>
                  <a:gd name="connsiteY75" fmla="*/ 63500 h 1303338"/>
                  <a:gd name="connsiteX76" fmla="*/ 250825 w 638175"/>
                  <a:gd name="connsiteY76" fmla="*/ 102394 h 1303338"/>
                  <a:gd name="connsiteX77" fmla="*/ 290513 w 638175"/>
                  <a:gd name="connsiteY77" fmla="*/ 141288 h 1303338"/>
                  <a:gd name="connsiteX78" fmla="*/ 330201 w 638175"/>
                  <a:gd name="connsiteY78" fmla="*/ 102394 h 1303338"/>
                  <a:gd name="connsiteX79" fmla="*/ 290513 w 638175"/>
                  <a:gd name="connsiteY79" fmla="*/ 63500 h 1303338"/>
                  <a:gd name="connsiteX80" fmla="*/ 291226 w 638175"/>
                  <a:gd name="connsiteY80" fmla="*/ 0 h 1303338"/>
                  <a:gd name="connsiteX81" fmla="*/ 389671 w 638175"/>
                  <a:gd name="connsiteY81" fmla="*/ 14176 h 1303338"/>
                  <a:gd name="connsiteX82" fmla="*/ 403225 w 638175"/>
                  <a:gd name="connsiteY82" fmla="*/ 36858 h 1303338"/>
                  <a:gd name="connsiteX83" fmla="*/ 403225 w 638175"/>
                  <a:gd name="connsiteY83" fmla="*/ 176494 h 1303338"/>
                  <a:gd name="connsiteX84" fmla="*/ 387531 w 638175"/>
                  <a:gd name="connsiteY84" fmla="*/ 192088 h 1303338"/>
                  <a:gd name="connsiteX85" fmla="*/ 193494 w 638175"/>
                  <a:gd name="connsiteY85" fmla="*/ 192088 h 1303338"/>
                  <a:gd name="connsiteX86" fmla="*/ 177800 w 638175"/>
                  <a:gd name="connsiteY86" fmla="*/ 176494 h 1303338"/>
                  <a:gd name="connsiteX87" fmla="*/ 177800 w 638175"/>
                  <a:gd name="connsiteY87" fmla="*/ 36858 h 1303338"/>
                  <a:gd name="connsiteX88" fmla="*/ 192068 w 638175"/>
                  <a:gd name="connsiteY88" fmla="*/ 14176 h 1303338"/>
                  <a:gd name="connsiteX89" fmla="*/ 291226 w 638175"/>
                  <a:gd name="connsiteY89" fmla="*/ 0 h 1303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638175" h="1303338">
                    <a:moveTo>
                      <a:pt x="290513" y="876300"/>
                    </a:moveTo>
                    <a:cubicBezTo>
                      <a:pt x="268594" y="876300"/>
                      <a:pt x="250825" y="894069"/>
                      <a:pt x="250825" y="915988"/>
                    </a:cubicBezTo>
                    <a:cubicBezTo>
                      <a:pt x="250825" y="937907"/>
                      <a:pt x="268594" y="955676"/>
                      <a:pt x="290513" y="955676"/>
                    </a:cubicBezTo>
                    <a:cubicBezTo>
                      <a:pt x="312432" y="955676"/>
                      <a:pt x="330201" y="937907"/>
                      <a:pt x="330201" y="915988"/>
                    </a:cubicBezTo>
                    <a:cubicBezTo>
                      <a:pt x="330201" y="894069"/>
                      <a:pt x="312432" y="876300"/>
                      <a:pt x="290513" y="876300"/>
                    </a:cubicBezTo>
                    <a:close/>
                    <a:moveTo>
                      <a:pt x="193494" y="828675"/>
                    </a:moveTo>
                    <a:cubicBezTo>
                      <a:pt x="193494" y="828675"/>
                      <a:pt x="193494" y="828675"/>
                      <a:pt x="387531" y="828675"/>
                    </a:cubicBezTo>
                    <a:cubicBezTo>
                      <a:pt x="396092" y="828675"/>
                      <a:pt x="403225" y="835824"/>
                      <a:pt x="403225" y="844402"/>
                    </a:cubicBezTo>
                    <a:cubicBezTo>
                      <a:pt x="403225" y="844402"/>
                      <a:pt x="403225" y="844402"/>
                      <a:pt x="403225" y="1287611"/>
                    </a:cubicBezTo>
                    <a:cubicBezTo>
                      <a:pt x="403225" y="1296190"/>
                      <a:pt x="396092" y="1303338"/>
                      <a:pt x="387531" y="1303338"/>
                    </a:cubicBezTo>
                    <a:cubicBezTo>
                      <a:pt x="387531" y="1303338"/>
                      <a:pt x="387531" y="1303338"/>
                      <a:pt x="193494" y="1303338"/>
                    </a:cubicBezTo>
                    <a:cubicBezTo>
                      <a:pt x="184934" y="1303338"/>
                      <a:pt x="177800" y="1296190"/>
                      <a:pt x="177800" y="1287611"/>
                    </a:cubicBezTo>
                    <a:cubicBezTo>
                      <a:pt x="177800" y="1287611"/>
                      <a:pt x="177800" y="1287611"/>
                      <a:pt x="177800" y="844402"/>
                    </a:cubicBezTo>
                    <a:cubicBezTo>
                      <a:pt x="177800" y="835824"/>
                      <a:pt x="184934" y="828675"/>
                      <a:pt x="193494" y="828675"/>
                    </a:cubicBezTo>
                    <a:close/>
                    <a:moveTo>
                      <a:pt x="219075" y="466725"/>
                    </a:moveTo>
                    <a:cubicBezTo>
                      <a:pt x="193675" y="544513"/>
                      <a:pt x="193675" y="544513"/>
                      <a:pt x="193675" y="544513"/>
                    </a:cubicBezTo>
                    <a:cubicBezTo>
                      <a:pt x="244475" y="544513"/>
                      <a:pt x="244475" y="544513"/>
                      <a:pt x="244475" y="544513"/>
                    </a:cubicBezTo>
                    <a:cubicBezTo>
                      <a:pt x="219075" y="466725"/>
                      <a:pt x="219075" y="466725"/>
                      <a:pt x="219075" y="466725"/>
                    </a:cubicBezTo>
                    <a:close/>
                    <a:moveTo>
                      <a:pt x="47214" y="438150"/>
                    </a:moveTo>
                    <a:cubicBezTo>
                      <a:pt x="43647" y="438150"/>
                      <a:pt x="40080" y="438150"/>
                      <a:pt x="36512" y="438869"/>
                    </a:cubicBezTo>
                    <a:cubicBezTo>
                      <a:pt x="36512" y="504976"/>
                      <a:pt x="36512" y="504976"/>
                      <a:pt x="36512" y="504976"/>
                    </a:cubicBezTo>
                    <a:cubicBezTo>
                      <a:pt x="42220" y="505695"/>
                      <a:pt x="47214" y="506413"/>
                      <a:pt x="51495" y="506413"/>
                    </a:cubicBezTo>
                    <a:cubicBezTo>
                      <a:pt x="67906" y="506413"/>
                      <a:pt x="80035" y="503539"/>
                      <a:pt x="88597" y="497790"/>
                    </a:cubicBezTo>
                    <a:cubicBezTo>
                      <a:pt x="95731" y="492042"/>
                      <a:pt x="100012" y="482701"/>
                      <a:pt x="100012" y="470485"/>
                    </a:cubicBezTo>
                    <a:cubicBezTo>
                      <a:pt x="100012" y="448928"/>
                      <a:pt x="82175" y="438150"/>
                      <a:pt x="47214" y="438150"/>
                    </a:cubicBezTo>
                    <a:close/>
                    <a:moveTo>
                      <a:pt x="463550" y="406400"/>
                    </a:moveTo>
                    <a:cubicBezTo>
                      <a:pt x="638175" y="406400"/>
                      <a:pt x="638175" y="406400"/>
                      <a:pt x="638175" y="406400"/>
                    </a:cubicBezTo>
                    <a:cubicBezTo>
                      <a:pt x="638175" y="439299"/>
                      <a:pt x="638175" y="439299"/>
                      <a:pt x="638175" y="439299"/>
                    </a:cubicBezTo>
                    <a:cubicBezTo>
                      <a:pt x="568039" y="439299"/>
                      <a:pt x="568039" y="439299"/>
                      <a:pt x="568039" y="439299"/>
                    </a:cubicBezTo>
                    <a:cubicBezTo>
                      <a:pt x="568039" y="615950"/>
                      <a:pt x="568039" y="615950"/>
                      <a:pt x="568039" y="615950"/>
                    </a:cubicBezTo>
                    <a:cubicBezTo>
                      <a:pt x="530824" y="615950"/>
                      <a:pt x="530824" y="615950"/>
                      <a:pt x="530824" y="615950"/>
                    </a:cubicBezTo>
                    <a:cubicBezTo>
                      <a:pt x="530824" y="439299"/>
                      <a:pt x="530824" y="439299"/>
                      <a:pt x="530824" y="439299"/>
                    </a:cubicBezTo>
                    <a:cubicBezTo>
                      <a:pt x="463550" y="439299"/>
                      <a:pt x="463550" y="439299"/>
                      <a:pt x="463550" y="439299"/>
                    </a:cubicBezTo>
                    <a:cubicBezTo>
                      <a:pt x="463550" y="406400"/>
                      <a:pt x="463550" y="406400"/>
                      <a:pt x="463550" y="406400"/>
                    </a:cubicBezTo>
                    <a:close/>
                    <a:moveTo>
                      <a:pt x="42716" y="404813"/>
                    </a:moveTo>
                    <a:cubicBezTo>
                      <a:pt x="75464" y="404813"/>
                      <a:pt x="100381" y="409122"/>
                      <a:pt x="115332" y="419894"/>
                    </a:cubicBezTo>
                    <a:cubicBezTo>
                      <a:pt x="130282" y="429949"/>
                      <a:pt x="138113" y="445748"/>
                      <a:pt x="138113" y="468011"/>
                    </a:cubicBezTo>
                    <a:cubicBezTo>
                      <a:pt x="138113" y="515409"/>
                      <a:pt x="109636" y="539827"/>
                      <a:pt x="53394" y="539827"/>
                    </a:cubicBezTo>
                    <a:cubicBezTo>
                      <a:pt x="49835" y="539827"/>
                      <a:pt x="43428" y="539827"/>
                      <a:pt x="37020" y="539108"/>
                    </a:cubicBezTo>
                    <a:cubicBezTo>
                      <a:pt x="37020" y="615951"/>
                      <a:pt x="37020" y="615951"/>
                      <a:pt x="37020" y="615951"/>
                    </a:cubicBezTo>
                    <a:cubicBezTo>
                      <a:pt x="0" y="615951"/>
                      <a:pt x="0" y="615951"/>
                      <a:pt x="0" y="615951"/>
                    </a:cubicBezTo>
                    <a:cubicBezTo>
                      <a:pt x="0" y="406249"/>
                      <a:pt x="0" y="406249"/>
                      <a:pt x="0" y="406249"/>
                    </a:cubicBezTo>
                    <a:cubicBezTo>
                      <a:pt x="24206" y="404813"/>
                      <a:pt x="38444" y="404813"/>
                      <a:pt x="42716" y="404813"/>
                    </a:cubicBezTo>
                    <a:close/>
                    <a:moveTo>
                      <a:pt x="387705" y="403225"/>
                    </a:moveTo>
                    <a:cubicBezTo>
                      <a:pt x="411828" y="403225"/>
                      <a:pt x="429565" y="407500"/>
                      <a:pt x="440917" y="416763"/>
                    </a:cubicBezTo>
                    <a:cubicBezTo>
                      <a:pt x="429565" y="448828"/>
                      <a:pt x="429565" y="448828"/>
                      <a:pt x="429565" y="448828"/>
                    </a:cubicBezTo>
                    <a:cubicBezTo>
                      <a:pt x="416794" y="439565"/>
                      <a:pt x="403314" y="435289"/>
                      <a:pt x="388414" y="435289"/>
                    </a:cubicBezTo>
                    <a:cubicBezTo>
                      <a:pt x="379901" y="435289"/>
                      <a:pt x="373515" y="437427"/>
                      <a:pt x="368549" y="441702"/>
                    </a:cubicBezTo>
                    <a:cubicBezTo>
                      <a:pt x="363582" y="446690"/>
                      <a:pt x="361454" y="451678"/>
                      <a:pt x="361454" y="459516"/>
                    </a:cubicBezTo>
                    <a:cubicBezTo>
                      <a:pt x="361454" y="470917"/>
                      <a:pt x="374934" y="483742"/>
                      <a:pt x="401185" y="496568"/>
                    </a:cubicBezTo>
                    <a:cubicBezTo>
                      <a:pt x="415375" y="503693"/>
                      <a:pt x="425308" y="509394"/>
                      <a:pt x="431694" y="515807"/>
                    </a:cubicBezTo>
                    <a:cubicBezTo>
                      <a:pt x="438079" y="520794"/>
                      <a:pt x="442336" y="527920"/>
                      <a:pt x="445884" y="535045"/>
                    </a:cubicBezTo>
                    <a:cubicBezTo>
                      <a:pt x="448722" y="542883"/>
                      <a:pt x="450850" y="551434"/>
                      <a:pt x="450850" y="560697"/>
                    </a:cubicBezTo>
                    <a:cubicBezTo>
                      <a:pt x="450850" y="577798"/>
                      <a:pt x="444465" y="592049"/>
                      <a:pt x="430275" y="602737"/>
                    </a:cubicBezTo>
                    <a:cubicBezTo>
                      <a:pt x="417504" y="613425"/>
                      <a:pt x="399057" y="619125"/>
                      <a:pt x="377063" y="619125"/>
                    </a:cubicBezTo>
                    <a:cubicBezTo>
                      <a:pt x="357197" y="619125"/>
                      <a:pt x="339459" y="614137"/>
                      <a:pt x="323850" y="604162"/>
                    </a:cubicBezTo>
                    <a:cubicBezTo>
                      <a:pt x="337331" y="570672"/>
                      <a:pt x="337331" y="570672"/>
                      <a:pt x="337331" y="570672"/>
                    </a:cubicBezTo>
                    <a:cubicBezTo>
                      <a:pt x="352230" y="581360"/>
                      <a:pt x="367130" y="585636"/>
                      <a:pt x="381320" y="585636"/>
                    </a:cubicBezTo>
                    <a:cubicBezTo>
                      <a:pt x="402604" y="585636"/>
                      <a:pt x="413247" y="579223"/>
                      <a:pt x="413247" y="563547"/>
                    </a:cubicBezTo>
                    <a:cubicBezTo>
                      <a:pt x="413247" y="556422"/>
                      <a:pt x="411118" y="549296"/>
                      <a:pt x="406152" y="542883"/>
                    </a:cubicBezTo>
                    <a:cubicBezTo>
                      <a:pt x="401185" y="537183"/>
                      <a:pt x="389833" y="529345"/>
                      <a:pt x="374225" y="521507"/>
                    </a:cubicBezTo>
                    <a:cubicBezTo>
                      <a:pt x="358616" y="513669"/>
                      <a:pt x="347264" y="507256"/>
                      <a:pt x="341588" y="501556"/>
                    </a:cubicBezTo>
                    <a:cubicBezTo>
                      <a:pt x="336621" y="496568"/>
                      <a:pt x="332364" y="490155"/>
                      <a:pt x="328817" y="483030"/>
                    </a:cubicBezTo>
                    <a:cubicBezTo>
                      <a:pt x="325979" y="475904"/>
                      <a:pt x="324560" y="468066"/>
                      <a:pt x="324560" y="459516"/>
                    </a:cubicBezTo>
                    <a:cubicBezTo>
                      <a:pt x="324560" y="443127"/>
                      <a:pt x="330236" y="430302"/>
                      <a:pt x="342297" y="418901"/>
                    </a:cubicBezTo>
                    <a:cubicBezTo>
                      <a:pt x="353649" y="408925"/>
                      <a:pt x="369258" y="403225"/>
                      <a:pt x="387705" y="403225"/>
                    </a:cubicBezTo>
                    <a:close/>
                    <a:moveTo>
                      <a:pt x="210920" y="403225"/>
                    </a:moveTo>
                    <a:cubicBezTo>
                      <a:pt x="227386" y="403225"/>
                      <a:pt x="227386" y="403225"/>
                      <a:pt x="227386" y="403225"/>
                    </a:cubicBezTo>
                    <a:cubicBezTo>
                      <a:pt x="311150" y="615950"/>
                      <a:pt x="311150" y="615950"/>
                      <a:pt x="311150" y="615950"/>
                    </a:cubicBezTo>
                    <a:cubicBezTo>
                      <a:pt x="270342" y="615950"/>
                      <a:pt x="270342" y="615950"/>
                      <a:pt x="270342" y="615950"/>
                    </a:cubicBezTo>
                    <a:cubicBezTo>
                      <a:pt x="254592" y="573833"/>
                      <a:pt x="254592" y="573833"/>
                      <a:pt x="254592" y="573833"/>
                    </a:cubicBezTo>
                    <a:cubicBezTo>
                      <a:pt x="183714" y="573833"/>
                      <a:pt x="183714" y="573833"/>
                      <a:pt x="183714" y="573833"/>
                    </a:cubicBezTo>
                    <a:cubicBezTo>
                      <a:pt x="169395" y="615950"/>
                      <a:pt x="169395" y="615950"/>
                      <a:pt x="169395" y="615950"/>
                    </a:cubicBezTo>
                    <a:cubicBezTo>
                      <a:pt x="128587" y="615950"/>
                      <a:pt x="128587" y="615950"/>
                      <a:pt x="128587" y="615950"/>
                    </a:cubicBezTo>
                    <a:cubicBezTo>
                      <a:pt x="210920" y="403225"/>
                      <a:pt x="210920" y="403225"/>
                      <a:pt x="210920" y="403225"/>
                    </a:cubicBezTo>
                    <a:close/>
                    <a:moveTo>
                      <a:pt x="290513" y="63500"/>
                    </a:moveTo>
                    <a:cubicBezTo>
                      <a:pt x="268594" y="63500"/>
                      <a:pt x="250825" y="80913"/>
                      <a:pt x="250825" y="102394"/>
                    </a:cubicBezTo>
                    <a:cubicBezTo>
                      <a:pt x="250825" y="123875"/>
                      <a:pt x="268594" y="141288"/>
                      <a:pt x="290513" y="141288"/>
                    </a:cubicBezTo>
                    <a:cubicBezTo>
                      <a:pt x="312432" y="141288"/>
                      <a:pt x="330201" y="123875"/>
                      <a:pt x="330201" y="102394"/>
                    </a:cubicBezTo>
                    <a:cubicBezTo>
                      <a:pt x="330201" y="80913"/>
                      <a:pt x="312432" y="63500"/>
                      <a:pt x="290513" y="63500"/>
                    </a:cubicBezTo>
                    <a:close/>
                    <a:moveTo>
                      <a:pt x="291226" y="0"/>
                    </a:moveTo>
                    <a:cubicBezTo>
                      <a:pt x="363277" y="0"/>
                      <a:pt x="389671" y="14176"/>
                      <a:pt x="389671" y="14176"/>
                    </a:cubicBezTo>
                    <a:cubicBezTo>
                      <a:pt x="396805" y="17720"/>
                      <a:pt x="403225" y="28353"/>
                      <a:pt x="403225" y="36858"/>
                    </a:cubicBezTo>
                    <a:cubicBezTo>
                      <a:pt x="403225" y="36858"/>
                      <a:pt x="403225" y="36858"/>
                      <a:pt x="403225" y="176494"/>
                    </a:cubicBezTo>
                    <a:cubicBezTo>
                      <a:pt x="403225" y="185000"/>
                      <a:pt x="396092" y="192088"/>
                      <a:pt x="387531" y="192088"/>
                    </a:cubicBezTo>
                    <a:cubicBezTo>
                      <a:pt x="387531" y="192088"/>
                      <a:pt x="387531" y="192088"/>
                      <a:pt x="193494" y="192088"/>
                    </a:cubicBezTo>
                    <a:cubicBezTo>
                      <a:pt x="184934" y="192088"/>
                      <a:pt x="177800" y="185000"/>
                      <a:pt x="177800" y="176494"/>
                    </a:cubicBezTo>
                    <a:cubicBezTo>
                      <a:pt x="177800" y="176494"/>
                      <a:pt x="177800" y="176494"/>
                      <a:pt x="177800" y="36858"/>
                    </a:cubicBezTo>
                    <a:cubicBezTo>
                      <a:pt x="177800" y="28353"/>
                      <a:pt x="184221" y="17720"/>
                      <a:pt x="192068" y="14176"/>
                    </a:cubicBezTo>
                    <a:cubicBezTo>
                      <a:pt x="192068" y="14176"/>
                      <a:pt x="217749" y="0"/>
                      <a:pt x="291226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9"/>
              <p:cNvSpPr>
                <a:spLocks noEditPoints="1"/>
              </p:cNvSpPr>
              <p:nvPr/>
            </p:nvSpPr>
            <p:spPr bwMode="auto">
              <a:xfrm>
                <a:off x="5421313" y="2967038"/>
                <a:ext cx="1346200" cy="571500"/>
              </a:xfrm>
              <a:custGeom>
                <a:avLst/>
                <a:gdLst>
                  <a:gd name="T0" fmla="*/ 1767 w 1886"/>
                  <a:gd name="T1" fmla="*/ 42 h 802"/>
                  <a:gd name="T2" fmla="*/ 302 w 1886"/>
                  <a:gd name="T3" fmla="*/ 42 h 802"/>
                  <a:gd name="T4" fmla="*/ 240 w 1886"/>
                  <a:gd name="T5" fmla="*/ 77 h 802"/>
                  <a:gd name="T6" fmla="*/ 63 w 1886"/>
                  <a:gd name="T7" fmla="*/ 361 h 802"/>
                  <a:gd name="T8" fmla="*/ 63 w 1886"/>
                  <a:gd name="T9" fmla="*/ 440 h 802"/>
                  <a:gd name="T10" fmla="*/ 240 w 1886"/>
                  <a:gd name="T11" fmla="*/ 724 h 802"/>
                  <a:gd name="T12" fmla="*/ 302 w 1886"/>
                  <a:gd name="T13" fmla="*/ 760 h 802"/>
                  <a:gd name="T14" fmla="*/ 1767 w 1886"/>
                  <a:gd name="T15" fmla="*/ 760 h 802"/>
                  <a:gd name="T16" fmla="*/ 1841 w 1886"/>
                  <a:gd name="T17" fmla="*/ 685 h 802"/>
                  <a:gd name="T18" fmla="*/ 1841 w 1886"/>
                  <a:gd name="T19" fmla="*/ 116 h 802"/>
                  <a:gd name="T20" fmla="*/ 1767 w 1886"/>
                  <a:gd name="T21" fmla="*/ 42 h 802"/>
                  <a:gd name="T22" fmla="*/ 1768 w 1886"/>
                  <a:gd name="T23" fmla="*/ 0 h 802"/>
                  <a:gd name="T24" fmla="*/ 1886 w 1886"/>
                  <a:gd name="T25" fmla="*/ 117 h 802"/>
                  <a:gd name="T26" fmla="*/ 1886 w 1886"/>
                  <a:gd name="T27" fmla="*/ 684 h 802"/>
                  <a:gd name="T28" fmla="*/ 1768 w 1886"/>
                  <a:gd name="T29" fmla="*/ 802 h 802"/>
                  <a:gd name="T30" fmla="*/ 300 w 1886"/>
                  <a:gd name="T31" fmla="*/ 802 h 802"/>
                  <a:gd name="T32" fmla="*/ 200 w 1886"/>
                  <a:gd name="T33" fmla="*/ 746 h 802"/>
                  <a:gd name="T34" fmla="*/ 24 w 1886"/>
                  <a:gd name="T35" fmla="*/ 463 h 802"/>
                  <a:gd name="T36" fmla="*/ 24 w 1886"/>
                  <a:gd name="T37" fmla="*/ 338 h 802"/>
                  <a:gd name="T38" fmla="*/ 200 w 1886"/>
                  <a:gd name="T39" fmla="*/ 55 h 802"/>
                  <a:gd name="T40" fmla="*/ 300 w 1886"/>
                  <a:gd name="T41" fmla="*/ 0 h 802"/>
                  <a:gd name="T42" fmla="*/ 1768 w 1886"/>
                  <a:gd name="T43" fmla="*/ 0 h 8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86" h="802">
                    <a:moveTo>
                      <a:pt x="1767" y="42"/>
                    </a:moveTo>
                    <a:cubicBezTo>
                      <a:pt x="1767" y="42"/>
                      <a:pt x="1767" y="42"/>
                      <a:pt x="302" y="42"/>
                    </a:cubicBezTo>
                    <a:cubicBezTo>
                      <a:pt x="277" y="42"/>
                      <a:pt x="253" y="55"/>
                      <a:pt x="240" y="77"/>
                    </a:cubicBezTo>
                    <a:cubicBezTo>
                      <a:pt x="240" y="77"/>
                      <a:pt x="240" y="77"/>
                      <a:pt x="63" y="361"/>
                    </a:cubicBezTo>
                    <a:cubicBezTo>
                      <a:pt x="49" y="385"/>
                      <a:pt x="49" y="416"/>
                      <a:pt x="63" y="440"/>
                    </a:cubicBezTo>
                    <a:cubicBezTo>
                      <a:pt x="63" y="440"/>
                      <a:pt x="63" y="440"/>
                      <a:pt x="240" y="724"/>
                    </a:cubicBezTo>
                    <a:cubicBezTo>
                      <a:pt x="253" y="747"/>
                      <a:pt x="277" y="760"/>
                      <a:pt x="302" y="760"/>
                    </a:cubicBezTo>
                    <a:cubicBezTo>
                      <a:pt x="302" y="760"/>
                      <a:pt x="302" y="760"/>
                      <a:pt x="1767" y="760"/>
                    </a:cubicBezTo>
                    <a:cubicBezTo>
                      <a:pt x="1808" y="760"/>
                      <a:pt x="1841" y="726"/>
                      <a:pt x="1841" y="685"/>
                    </a:cubicBezTo>
                    <a:cubicBezTo>
                      <a:pt x="1841" y="685"/>
                      <a:pt x="1841" y="685"/>
                      <a:pt x="1841" y="116"/>
                    </a:cubicBezTo>
                    <a:cubicBezTo>
                      <a:pt x="1841" y="75"/>
                      <a:pt x="1808" y="42"/>
                      <a:pt x="1767" y="42"/>
                    </a:cubicBezTo>
                    <a:close/>
                    <a:moveTo>
                      <a:pt x="1768" y="0"/>
                    </a:moveTo>
                    <a:cubicBezTo>
                      <a:pt x="1833" y="0"/>
                      <a:pt x="1886" y="52"/>
                      <a:pt x="1886" y="117"/>
                    </a:cubicBezTo>
                    <a:cubicBezTo>
                      <a:pt x="1886" y="117"/>
                      <a:pt x="1886" y="117"/>
                      <a:pt x="1886" y="684"/>
                    </a:cubicBezTo>
                    <a:cubicBezTo>
                      <a:pt x="1886" y="749"/>
                      <a:pt x="1833" y="802"/>
                      <a:pt x="1768" y="802"/>
                    </a:cubicBezTo>
                    <a:cubicBezTo>
                      <a:pt x="1768" y="802"/>
                      <a:pt x="1768" y="802"/>
                      <a:pt x="300" y="802"/>
                    </a:cubicBezTo>
                    <a:cubicBezTo>
                      <a:pt x="259" y="802"/>
                      <a:pt x="222" y="781"/>
                      <a:pt x="200" y="746"/>
                    </a:cubicBezTo>
                    <a:cubicBezTo>
                      <a:pt x="200" y="746"/>
                      <a:pt x="200" y="746"/>
                      <a:pt x="24" y="463"/>
                    </a:cubicBezTo>
                    <a:cubicBezTo>
                      <a:pt x="0" y="425"/>
                      <a:pt x="0" y="376"/>
                      <a:pt x="24" y="338"/>
                    </a:cubicBezTo>
                    <a:cubicBezTo>
                      <a:pt x="24" y="338"/>
                      <a:pt x="24" y="338"/>
                      <a:pt x="200" y="55"/>
                    </a:cubicBezTo>
                    <a:cubicBezTo>
                      <a:pt x="222" y="21"/>
                      <a:pt x="259" y="0"/>
                      <a:pt x="300" y="0"/>
                    </a:cubicBezTo>
                    <a:cubicBezTo>
                      <a:pt x="300" y="0"/>
                      <a:pt x="300" y="0"/>
                      <a:pt x="1768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1" name="Rectangle 10"/>
          <p:cNvSpPr/>
          <p:nvPr/>
        </p:nvSpPr>
        <p:spPr>
          <a:xfrm>
            <a:off x="6622183" y="2357137"/>
            <a:ext cx="3619099" cy="3882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With new proces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622183" y="2818159"/>
            <a:ext cx="5062802" cy="29762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8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Clear definition of responsibilities in each step of the process and designation of roles with required expertise</a:t>
            </a:r>
          </a:p>
          <a:p>
            <a:pPr marL="226800" lvl="1" indent="-151200">
              <a:buClr>
                <a:srgbClr val="7F7F7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</a:endParaRPr>
          </a:p>
          <a:p>
            <a:pPr marL="226800" lvl="1" indent="-151200">
              <a:spcAft>
                <a:spcPts val="12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B61872"/>
                </a:solidFill>
                <a:latin typeface="Trebuchet MS" panose="020B0603020202020204" pitchFamily="34" charset="0"/>
              </a:rPr>
              <a:t>Creation of "Project Service Officer" role for core categories </a:t>
            </a: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(Drilling, Projects and </a:t>
            </a:r>
            <a:r>
              <a:rPr lang="en-US" sz="14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O&amp;M</a:t>
            </a: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) with global vision over project planning &amp; execution (time &amp; budget) and interaction with contract administrators</a:t>
            </a:r>
          </a:p>
          <a:p>
            <a:pPr marL="226800" lvl="1" indent="-1512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B61872"/>
                </a:solidFill>
                <a:latin typeface="Trebuchet MS" panose="020B0603020202020204" pitchFamily="34" charset="0"/>
              </a:rPr>
              <a:t>Designation of administrative activities to contract administrators</a:t>
            </a: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, separate from technical authority </a:t>
            </a:r>
          </a:p>
          <a:p>
            <a:pPr marL="453600" lvl="2" indent="-151200">
              <a:spcAft>
                <a:spcPts val="12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Focus of technical authority on technical tasks</a:t>
            </a:r>
          </a:p>
          <a:p>
            <a:pPr marL="226800" lvl="1" indent="-1512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Definition of required experience for </a:t>
            </a:r>
            <a:r>
              <a:rPr lang="en-US" sz="1400" dirty="0">
                <a:solidFill>
                  <a:srgbClr val="B61872"/>
                </a:solidFill>
                <a:latin typeface="Trebuchet MS" panose="020B0603020202020204" pitchFamily="34" charset="0"/>
              </a:rPr>
              <a:t>contract management roles based on criticality and spend of category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30000" y="2818159"/>
            <a:ext cx="5062802" cy="29281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80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</a:rPr>
              <a:t>Responsibilities are not clearly defined and roles in charge of process vary significantly between areas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</a:endParaRPr>
          </a:p>
          <a:p>
            <a:pPr marL="226800" lvl="1" indent="-151200">
              <a:spcAft>
                <a:spcPts val="12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B61872"/>
                </a:solidFill>
                <a:latin typeface="Trebuchet MS" panose="020B0603020202020204" pitchFamily="34" charset="0"/>
              </a:rPr>
              <a:t>Lack of role with category vision </a:t>
            </a: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of contract management &amp; execution</a:t>
            </a:r>
          </a:p>
          <a:p>
            <a:pPr marL="226800" lvl="1" indent="-151200">
              <a:spcAft>
                <a:spcPts val="600"/>
              </a:spcAft>
              <a:buClr>
                <a:srgbClr val="7F7F7F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</a:endParaRPr>
          </a:p>
          <a:p>
            <a:pPr marL="226800" lvl="1" indent="-151200">
              <a:spcAft>
                <a:spcPts val="12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Technical authorities in user areas with </a:t>
            </a:r>
            <a:r>
              <a:rPr lang="en-US" sz="1400" dirty="0">
                <a:solidFill>
                  <a:srgbClr val="B61872"/>
                </a:solidFill>
                <a:latin typeface="Trebuchet MS" panose="020B0603020202020204" pitchFamily="34" charset="0"/>
              </a:rPr>
              <a:t>significant workload of low value-added administrative tasks</a:t>
            </a:r>
          </a:p>
          <a:p>
            <a:pPr marL="226800" lvl="1" indent="-151200">
              <a:spcAft>
                <a:spcPts val="6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</a:endParaRPr>
          </a:p>
          <a:p>
            <a:pPr marL="226800" lvl="1" indent="-151200">
              <a:spcAft>
                <a:spcPts val="6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In some cases, person assigned to contract management tasks </a:t>
            </a:r>
            <a:r>
              <a:rPr lang="en-US" sz="1400" dirty="0">
                <a:solidFill>
                  <a:srgbClr val="B61872"/>
                </a:solidFill>
                <a:latin typeface="Trebuchet MS" panose="020B0603020202020204" pitchFamily="34" charset="0"/>
              </a:rPr>
              <a:t>does not have the required experience/knowledge </a:t>
            </a:r>
            <a:r>
              <a:rPr lang="en-US" sz="14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to effectively perform them</a:t>
            </a:r>
          </a:p>
        </p:txBody>
      </p: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6622183" y="1728222"/>
            <a:ext cx="767241" cy="767241"/>
            <a:chOff x="5273675" y="2570163"/>
            <a:chExt cx="1646238" cy="1646237"/>
          </a:xfrm>
        </p:grpSpPr>
        <p:sp>
          <p:nvSpPr>
            <p:cNvPr id="24" name="AutoShape 40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5424488" y="2741613"/>
              <a:ext cx="1347788" cy="1303337"/>
              <a:chOff x="5424488" y="2741613"/>
              <a:chExt cx="1347788" cy="1303337"/>
            </a:xfrm>
          </p:grpSpPr>
          <p:sp>
            <p:nvSpPr>
              <p:cNvPr id="26" name="Freeform 42"/>
              <p:cNvSpPr>
                <a:spLocks noEditPoints="1"/>
              </p:cNvSpPr>
              <p:nvPr/>
            </p:nvSpPr>
            <p:spPr bwMode="auto">
              <a:xfrm>
                <a:off x="5424488" y="2967038"/>
                <a:ext cx="1347788" cy="573087"/>
              </a:xfrm>
              <a:custGeom>
                <a:avLst/>
                <a:gdLst>
                  <a:gd name="T0" fmla="*/ 119 w 1886"/>
                  <a:gd name="T1" fmla="*/ 42 h 802"/>
                  <a:gd name="T2" fmla="*/ 45 w 1886"/>
                  <a:gd name="T3" fmla="*/ 116 h 802"/>
                  <a:gd name="T4" fmla="*/ 45 w 1886"/>
                  <a:gd name="T5" fmla="*/ 685 h 802"/>
                  <a:gd name="T6" fmla="*/ 119 w 1886"/>
                  <a:gd name="T7" fmla="*/ 760 h 802"/>
                  <a:gd name="T8" fmla="*/ 1584 w 1886"/>
                  <a:gd name="T9" fmla="*/ 760 h 802"/>
                  <a:gd name="T10" fmla="*/ 1646 w 1886"/>
                  <a:gd name="T11" fmla="*/ 724 h 802"/>
                  <a:gd name="T12" fmla="*/ 1823 w 1886"/>
                  <a:gd name="T13" fmla="*/ 440 h 802"/>
                  <a:gd name="T14" fmla="*/ 1823 w 1886"/>
                  <a:gd name="T15" fmla="*/ 361 h 802"/>
                  <a:gd name="T16" fmla="*/ 1646 w 1886"/>
                  <a:gd name="T17" fmla="*/ 77 h 802"/>
                  <a:gd name="T18" fmla="*/ 1584 w 1886"/>
                  <a:gd name="T19" fmla="*/ 42 h 802"/>
                  <a:gd name="T20" fmla="*/ 119 w 1886"/>
                  <a:gd name="T21" fmla="*/ 42 h 802"/>
                  <a:gd name="T22" fmla="*/ 118 w 1886"/>
                  <a:gd name="T23" fmla="*/ 0 h 802"/>
                  <a:gd name="T24" fmla="*/ 1586 w 1886"/>
                  <a:gd name="T25" fmla="*/ 0 h 802"/>
                  <a:gd name="T26" fmla="*/ 1686 w 1886"/>
                  <a:gd name="T27" fmla="*/ 55 h 802"/>
                  <a:gd name="T28" fmla="*/ 1862 w 1886"/>
                  <a:gd name="T29" fmla="*/ 338 h 802"/>
                  <a:gd name="T30" fmla="*/ 1862 w 1886"/>
                  <a:gd name="T31" fmla="*/ 463 h 802"/>
                  <a:gd name="T32" fmla="*/ 1686 w 1886"/>
                  <a:gd name="T33" fmla="*/ 746 h 802"/>
                  <a:gd name="T34" fmla="*/ 1586 w 1886"/>
                  <a:gd name="T35" fmla="*/ 802 h 802"/>
                  <a:gd name="T36" fmla="*/ 118 w 1886"/>
                  <a:gd name="T37" fmla="*/ 802 h 802"/>
                  <a:gd name="T38" fmla="*/ 0 w 1886"/>
                  <a:gd name="T39" fmla="*/ 684 h 802"/>
                  <a:gd name="T40" fmla="*/ 0 w 1886"/>
                  <a:gd name="T41" fmla="*/ 117 h 802"/>
                  <a:gd name="T42" fmla="*/ 118 w 1886"/>
                  <a:gd name="T43" fmla="*/ 0 h 8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86" h="802">
                    <a:moveTo>
                      <a:pt x="119" y="42"/>
                    </a:moveTo>
                    <a:cubicBezTo>
                      <a:pt x="78" y="42"/>
                      <a:pt x="45" y="75"/>
                      <a:pt x="45" y="116"/>
                    </a:cubicBezTo>
                    <a:cubicBezTo>
                      <a:pt x="45" y="685"/>
                      <a:pt x="45" y="685"/>
                      <a:pt x="45" y="685"/>
                    </a:cubicBezTo>
                    <a:cubicBezTo>
                      <a:pt x="45" y="726"/>
                      <a:pt x="78" y="760"/>
                      <a:pt x="119" y="760"/>
                    </a:cubicBezTo>
                    <a:cubicBezTo>
                      <a:pt x="1584" y="760"/>
                      <a:pt x="1584" y="760"/>
                      <a:pt x="1584" y="760"/>
                    </a:cubicBezTo>
                    <a:cubicBezTo>
                      <a:pt x="1609" y="760"/>
                      <a:pt x="1633" y="747"/>
                      <a:pt x="1646" y="724"/>
                    </a:cubicBezTo>
                    <a:cubicBezTo>
                      <a:pt x="1823" y="440"/>
                      <a:pt x="1823" y="440"/>
                      <a:pt x="1823" y="440"/>
                    </a:cubicBezTo>
                    <a:cubicBezTo>
                      <a:pt x="1837" y="416"/>
                      <a:pt x="1837" y="385"/>
                      <a:pt x="1823" y="361"/>
                    </a:cubicBezTo>
                    <a:cubicBezTo>
                      <a:pt x="1646" y="77"/>
                      <a:pt x="1646" y="77"/>
                      <a:pt x="1646" y="77"/>
                    </a:cubicBezTo>
                    <a:cubicBezTo>
                      <a:pt x="1633" y="55"/>
                      <a:pt x="1609" y="42"/>
                      <a:pt x="1584" y="42"/>
                    </a:cubicBezTo>
                    <a:cubicBezTo>
                      <a:pt x="119" y="42"/>
                      <a:pt x="119" y="42"/>
                      <a:pt x="119" y="42"/>
                    </a:cubicBezTo>
                    <a:close/>
                    <a:moveTo>
                      <a:pt x="118" y="0"/>
                    </a:moveTo>
                    <a:cubicBezTo>
                      <a:pt x="1586" y="0"/>
                      <a:pt x="1586" y="0"/>
                      <a:pt x="1586" y="0"/>
                    </a:cubicBezTo>
                    <a:cubicBezTo>
                      <a:pt x="1627" y="0"/>
                      <a:pt x="1664" y="21"/>
                      <a:pt x="1686" y="55"/>
                    </a:cubicBezTo>
                    <a:cubicBezTo>
                      <a:pt x="1862" y="338"/>
                      <a:pt x="1862" y="338"/>
                      <a:pt x="1862" y="338"/>
                    </a:cubicBezTo>
                    <a:cubicBezTo>
                      <a:pt x="1886" y="376"/>
                      <a:pt x="1886" y="425"/>
                      <a:pt x="1862" y="463"/>
                    </a:cubicBezTo>
                    <a:cubicBezTo>
                      <a:pt x="1686" y="746"/>
                      <a:pt x="1686" y="746"/>
                      <a:pt x="1686" y="746"/>
                    </a:cubicBezTo>
                    <a:cubicBezTo>
                      <a:pt x="1664" y="781"/>
                      <a:pt x="1627" y="802"/>
                      <a:pt x="1586" y="802"/>
                    </a:cubicBezTo>
                    <a:cubicBezTo>
                      <a:pt x="118" y="802"/>
                      <a:pt x="118" y="802"/>
                      <a:pt x="118" y="802"/>
                    </a:cubicBezTo>
                    <a:cubicBezTo>
                      <a:pt x="53" y="802"/>
                      <a:pt x="0" y="749"/>
                      <a:pt x="0" y="684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52"/>
                      <a:pt x="53" y="0"/>
                      <a:pt x="118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514975" y="2741613"/>
                <a:ext cx="1076325" cy="1303337"/>
              </a:xfrm>
              <a:custGeom>
                <a:avLst/>
                <a:gdLst>
                  <a:gd name="connsiteX0" fmla="*/ 581026 w 1076325"/>
                  <a:gd name="connsiteY0" fmla="*/ 876300 h 1303337"/>
                  <a:gd name="connsiteX1" fmla="*/ 541338 w 1076325"/>
                  <a:gd name="connsiteY1" fmla="*/ 915988 h 1303337"/>
                  <a:gd name="connsiteX2" fmla="*/ 581026 w 1076325"/>
                  <a:gd name="connsiteY2" fmla="*/ 955676 h 1303337"/>
                  <a:gd name="connsiteX3" fmla="*/ 620714 w 1076325"/>
                  <a:gd name="connsiteY3" fmla="*/ 915988 h 1303337"/>
                  <a:gd name="connsiteX4" fmla="*/ 581026 w 1076325"/>
                  <a:gd name="connsiteY4" fmla="*/ 876300 h 1303337"/>
                  <a:gd name="connsiteX5" fmla="*/ 484007 w 1076325"/>
                  <a:gd name="connsiteY5" fmla="*/ 830262 h 1303337"/>
                  <a:gd name="connsiteX6" fmla="*/ 678044 w 1076325"/>
                  <a:gd name="connsiteY6" fmla="*/ 830262 h 1303337"/>
                  <a:gd name="connsiteX7" fmla="*/ 693738 w 1076325"/>
                  <a:gd name="connsiteY7" fmla="*/ 845936 h 1303337"/>
                  <a:gd name="connsiteX8" fmla="*/ 693738 w 1076325"/>
                  <a:gd name="connsiteY8" fmla="*/ 1287663 h 1303337"/>
                  <a:gd name="connsiteX9" fmla="*/ 678044 w 1076325"/>
                  <a:gd name="connsiteY9" fmla="*/ 1303337 h 1303337"/>
                  <a:gd name="connsiteX10" fmla="*/ 484007 w 1076325"/>
                  <a:gd name="connsiteY10" fmla="*/ 1303337 h 1303337"/>
                  <a:gd name="connsiteX11" fmla="*/ 468313 w 1076325"/>
                  <a:gd name="connsiteY11" fmla="*/ 1287663 h 1303337"/>
                  <a:gd name="connsiteX12" fmla="*/ 468313 w 1076325"/>
                  <a:gd name="connsiteY12" fmla="*/ 845936 h 1303337"/>
                  <a:gd name="connsiteX13" fmla="*/ 484007 w 1076325"/>
                  <a:gd name="connsiteY13" fmla="*/ 830262 h 1303337"/>
                  <a:gd name="connsiteX14" fmla="*/ 810793 w 1076325"/>
                  <a:gd name="connsiteY14" fmla="*/ 436562 h 1303337"/>
                  <a:gd name="connsiteX15" fmla="*/ 796925 w 1076325"/>
                  <a:gd name="connsiteY15" fmla="*/ 437965 h 1303337"/>
                  <a:gd name="connsiteX16" fmla="*/ 796925 w 1076325"/>
                  <a:gd name="connsiteY16" fmla="*/ 496186 h 1303337"/>
                  <a:gd name="connsiteX17" fmla="*/ 813713 w 1076325"/>
                  <a:gd name="connsiteY17" fmla="*/ 496887 h 1303337"/>
                  <a:gd name="connsiteX18" fmla="*/ 849477 w 1076325"/>
                  <a:gd name="connsiteY18" fmla="*/ 490574 h 1303337"/>
                  <a:gd name="connsiteX19" fmla="*/ 860425 w 1076325"/>
                  <a:gd name="connsiteY19" fmla="*/ 464620 h 1303337"/>
                  <a:gd name="connsiteX20" fmla="*/ 848747 w 1076325"/>
                  <a:gd name="connsiteY20" fmla="*/ 442875 h 1303337"/>
                  <a:gd name="connsiteX21" fmla="*/ 810793 w 1076325"/>
                  <a:gd name="connsiteY21" fmla="*/ 436562 h 1303337"/>
                  <a:gd name="connsiteX22" fmla="*/ 939800 w 1076325"/>
                  <a:gd name="connsiteY22" fmla="*/ 403225 h 1303337"/>
                  <a:gd name="connsiteX23" fmla="*/ 1076325 w 1076325"/>
                  <a:gd name="connsiteY23" fmla="*/ 403225 h 1303337"/>
                  <a:gd name="connsiteX24" fmla="*/ 1076325 w 1076325"/>
                  <a:gd name="connsiteY24" fmla="*/ 437490 h 1303337"/>
                  <a:gd name="connsiteX25" fmla="*/ 977684 w 1076325"/>
                  <a:gd name="connsiteY25" fmla="*/ 437490 h 1303337"/>
                  <a:gd name="connsiteX26" fmla="*/ 977684 w 1076325"/>
                  <a:gd name="connsiteY26" fmla="*/ 487459 h 1303337"/>
                  <a:gd name="connsiteX27" fmla="*/ 1048448 w 1076325"/>
                  <a:gd name="connsiteY27" fmla="*/ 487459 h 1303337"/>
                  <a:gd name="connsiteX28" fmla="*/ 1048448 w 1076325"/>
                  <a:gd name="connsiteY28" fmla="*/ 519581 h 1303337"/>
                  <a:gd name="connsiteX29" fmla="*/ 977684 w 1076325"/>
                  <a:gd name="connsiteY29" fmla="*/ 519581 h 1303337"/>
                  <a:gd name="connsiteX30" fmla="*/ 977684 w 1076325"/>
                  <a:gd name="connsiteY30" fmla="*/ 582400 h 1303337"/>
                  <a:gd name="connsiteX31" fmla="*/ 1074896 w 1076325"/>
                  <a:gd name="connsiteY31" fmla="*/ 582400 h 1303337"/>
                  <a:gd name="connsiteX32" fmla="*/ 1074896 w 1076325"/>
                  <a:gd name="connsiteY32" fmla="*/ 615950 h 1303337"/>
                  <a:gd name="connsiteX33" fmla="*/ 939800 w 1076325"/>
                  <a:gd name="connsiteY33" fmla="*/ 615950 h 1303337"/>
                  <a:gd name="connsiteX34" fmla="*/ 939800 w 1076325"/>
                  <a:gd name="connsiteY34" fmla="*/ 403225 h 1303337"/>
                  <a:gd name="connsiteX35" fmla="*/ 557213 w 1076325"/>
                  <a:gd name="connsiteY35" fmla="*/ 403225 h 1303337"/>
                  <a:gd name="connsiteX36" fmla="*/ 595113 w 1076325"/>
                  <a:gd name="connsiteY36" fmla="*/ 403225 h 1303337"/>
                  <a:gd name="connsiteX37" fmla="*/ 595113 w 1076325"/>
                  <a:gd name="connsiteY37" fmla="*/ 549036 h 1303337"/>
                  <a:gd name="connsiteX38" fmla="*/ 605124 w 1076325"/>
                  <a:gd name="connsiteY38" fmla="*/ 577049 h 1303337"/>
                  <a:gd name="connsiteX39" fmla="*/ 634443 w 1076325"/>
                  <a:gd name="connsiteY39" fmla="*/ 587823 h 1303337"/>
                  <a:gd name="connsiteX40" fmla="*/ 666622 w 1076325"/>
                  <a:gd name="connsiteY40" fmla="*/ 577767 h 1303337"/>
                  <a:gd name="connsiteX41" fmla="*/ 678063 w 1076325"/>
                  <a:gd name="connsiteY41" fmla="*/ 548317 h 1303337"/>
                  <a:gd name="connsiteX42" fmla="*/ 678063 w 1076325"/>
                  <a:gd name="connsiteY42" fmla="*/ 403225 h 1303337"/>
                  <a:gd name="connsiteX43" fmla="*/ 715963 w 1076325"/>
                  <a:gd name="connsiteY43" fmla="*/ 403225 h 1303337"/>
                  <a:gd name="connsiteX44" fmla="*/ 715963 w 1076325"/>
                  <a:gd name="connsiteY44" fmla="*/ 551191 h 1303337"/>
                  <a:gd name="connsiteX45" fmla="*/ 693795 w 1076325"/>
                  <a:gd name="connsiteY45" fmla="*/ 602907 h 1303337"/>
                  <a:gd name="connsiteX46" fmla="*/ 634443 w 1076325"/>
                  <a:gd name="connsiteY46" fmla="*/ 622300 h 1303337"/>
                  <a:gd name="connsiteX47" fmla="*/ 577236 w 1076325"/>
                  <a:gd name="connsiteY47" fmla="*/ 603625 h 1303337"/>
                  <a:gd name="connsiteX48" fmla="*/ 557213 w 1076325"/>
                  <a:gd name="connsiteY48" fmla="*/ 551191 h 1303337"/>
                  <a:gd name="connsiteX49" fmla="*/ 557213 w 1076325"/>
                  <a:gd name="connsiteY49" fmla="*/ 403225 h 1303337"/>
                  <a:gd name="connsiteX50" fmla="*/ 357188 w 1076325"/>
                  <a:gd name="connsiteY50" fmla="*/ 403225 h 1303337"/>
                  <a:gd name="connsiteX51" fmla="*/ 531813 w 1076325"/>
                  <a:gd name="connsiteY51" fmla="*/ 403225 h 1303337"/>
                  <a:gd name="connsiteX52" fmla="*/ 531813 w 1076325"/>
                  <a:gd name="connsiteY52" fmla="*/ 437490 h 1303337"/>
                  <a:gd name="connsiteX53" fmla="*/ 461537 w 1076325"/>
                  <a:gd name="connsiteY53" fmla="*/ 437490 h 1303337"/>
                  <a:gd name="connsiteX54" fmla="*/ 461537 w 1076325"/>
                  <a:gd name="connsiteY54" fmla="*/ 615950 h 1303337"/>
                  <a:gd name="connsiteX55" fmla="*/ 423914 w 1076325"/>
                  <a:gd name="connsiteY55" fmla="*/ 615950 h 1303337"/>
                  <a:gd name="connsiteX56" fmla="*/ 423914 w 1076325"/>
                  <a:gd name="connsiteY56" fmla="*/ 437490 h 1303337"/>
                  <a:gd name="connsiteX57" fmla="*/ 357188 w 1076325"/>
                  <a:gd name="connsiteY57" fmla="*/ 437490 h 1303337"/>
                  <a:gd name="connsiteX58" fmla="*/ 357188 w 1076325"/>
                  <a:gd name="connsiteY58" fmla="*/ 403225 h 1303337"/>
                  <a:gd name="connsiteX59" fmla="*/ 173038 w 1076325"/>
                  <a:gd name="connsiteY59" fmla="*/ 403225 h 1303337"/>
                  <a:gd name="connsiteX60" fmla="*/ 210938 w 1076325"/>
                  <a:gd name="connsiteY60" fmla="*/ 403225 h 1303337"/>
                  <a:gd name="connsiteX61" fmla="*/ 210938 w 1076325"/>
                  <a:gd name="connsiteY61" fmla="*/ 549036 h 1303337"/>
                  <a:gd name="connsiteX62" fmla="*/ 220949 w 1076325"/>
                  <a:gd name="connsiteY62" fmla="*/ 577049 h 1303337"/>
                  <a:gd name="connsiteX63" fmla="*/ 250267 w 1076325"/>
                  <a:gd name="connsiteY63" fmla="*/ 587823 h 1303337"/>
                  <a:gd name="connsiteX64" fmla="*/ 281731 w 1076325"/>
                  <a:gd name="connsiteY64" fmla="*/ 577767 h 1303337"/>
                  <a:gd name="connsiteX65" fmla="*/ 293888 w 1076325"/>
                  <a:gd name="connsiteY65" fmla="*/ 548317 h 1303337"/>
                  <a:gd name="connsiteX66" fmla="*/ 293888 w 1076325"/>
                  <a:gd name="connsiteY66" fmla="*/ 403225 h 1303337"/>
                  <a:gd name="connsiteX67" fmla="*/ 331788 w 1076325"/>
                  <a:gd name="connsiteY67" fmla="*/ 403225 h 1303337"/>
                  <a:gd name="connsiteX68" fmla="*/ 331788 w 1076325"/>
                  <a:gd name="connsiteY68" fmla="*/ 551191 h 1303337"/>
                  <a:gd name="connsiteX69" fmla="*/ 309620 w 1076325"/>
                  <a:gd name="connsiteY69" fmla="*/ 602907 h 1303337"/>
                  <a:gd name="connsiteX70" fmla="*/ 250267 w 1076325"/>
                  <a:gd name="connsiteY70" fmla="*/ 622300 h 1303337"/>
                  <a:gd name="connsiteX71" fmla="*/ 193060 w 1076325"/>
                  <a:gd name="connsiteY71" fmla="*/ 603625 h 1303337"/>
                  <a:gd name="connsiteX72" fmla="*/ 173038 w 1076325"/>
                  <a:gd name="connsiteY72" fmla="*/ 551191 h 1303337"/>
                  <a:gd name="connsiteX73" fmla="*/ 173038 w 1076325"/>
                  <a:gd name="connsiteY73" fmla="*/ 403225 h 1303337"/>
                  <a:gd name="connsiteX74" fmla="*/ 0 w 1076325"/>
                  <a:gd name="connsiteY74" fmla="*/ 403225 h 1303337"/>
                  <a:gd name="connsiteX75" fmla="*/ 139700 w 1076325"/>
                  <a:gd name="connsiteY75" fmla="*/ 403225 h 1303337"/>
                  <a:gd name="connsiteX76" fmla="*/ 139700 w 1076325"/>
                  <a:gd name="connsiteY76" fmla="*/ 437490 h 1303337"/>
                  <a:gd name="connsiteX77" fmla="*/ 37776 w 1076325"/>
                  <a:gd name="connsiteY77" fmla="*/ 437490 h 1303337"/>
                  <a:gd name="connsiteX78" fmla="*/ 37776 w 1076325"/>
                  <a:gd name="connsiteY78" fmla="*/ 487459 h 1303337"/>
                  <a:gd name="connsiteX79" fmla="*/ 111902 w 1076325"/>
                  <a:gd name="connsiteY79" fmla="*/ 487459 h 1303337"/>
                  <a:gd name="connsiteX80" fmla="*/ 111902 w 1076325"/>
                  <a:gd name="connsiteY80" fmla="*/ 519581 h 1303337"/>
                  <a:gd name="connsiteX81" fmla="*/ 37776 w 1076325"/>
                  <a:gd name="connsiteY81" fmla="*/ 519581 h 1303337"/>
                  <a:gd name="connsiteX82" fmla="*/ 37776 w 1076325"/>
                  <a:gd name="connsiteY82" fmla="*/ 615950 h 1303337"/>
                  <a:gd name="connsiteX83" fmla="*/ 0 w 1076325"/>
                  <a:gd name="connsiteY83" fmla="*/ 615950 h 1303337"/>
                  <a:gd name="connsiteX84" fmla="*/ 0 w 1076325"/>
                  <a:gd name="connsiteY84" fmla="*/ 403225 h 1303337"/>
                  <a:gd name="connsiteX85" fmla="*/ 819678 w 1076325"/>
                  <a:gd name="connsiteY85" fmla="*/ 401637 h 1303337"/>
                  <a:gd name="connsiteX86" fmla="*/ 900363 w 1076325"/>
                  <a:gd name="connsiteY86" fmla="*/ 465216 h 1303337"/>
                  <a:gd name="connsiteX87" fmla="*/ 888939 w 1076325"/>
                  <a:gd name="connsiteY87" fmla="*/ 498792 h 1303337"/>
                  <a:gd name="connsiteX88" fmla="*/ 860378 w 1076325"/>
                  <a:gd name="connsiteY88" fmla="*/ 520937 h 1303337"/>
                  <a:gd name="connsiteX89" fmla="*/ 923926 w 1076325"/>
                  <a:gd name="connsiteY89" fmla="*/ 615949 h 1303337"/>
                  <a:gd name="connsiteX90" fmla="*/ 879656 w 1076325"/>
                  <a:gd name="connsiteY90" fmla="*/ 615949 h 1303337"/>
                  <a:gd name="connsiteX91" fmla="*/ 823962 w 1076325"/>
                  <a:gd name="connsiteY91" fmla="*/ 528796 h 1303337"/>
                  <a:gd name="connsiteX92" fmla="*/ 799685 w 1076325"/>
                  <a:gd name="connsiteY92" fmla="*/ 528081 h 1303337"/>
                  <a:gd name="connsiteX93" fmla="*/ 799685 w 1076325"/>
                  <a:gd name="connsiteY93" fmla="*/ 615949 h 1303337"/>
                  <a:gd name="connsiteX94" fmla="*/ 760413 w 1076325"/>
                  <a:gd name="connsiteY94" fmla="*/ 615949 h 1303337"/>
                  <a:gd name="connsiteX95" fmla="*/ 760413 w 1076325"/>
                  <a:gd name="connsiteY95" fmla="*/ 403780 h 1303337"/>
                  <a:gd name="connsiteX96" fmla="*/ 784690 w 1076325"/>
                  <a:gd name="connsiteY96" fmla="*/ 403066 h 1303337"/>
                  <a:gd name="connsiteX97" fmla="*/ 819678 w 1076325"/>
                  <a:gd name="connsiteY97" fmla="*/ 401637 h 1303337"/>
                  <a:gd name="connsiteX98" fmla="*/ 581026 w 1076325"/>
                  <a:gd name="connsiteY98" fmla="*/ 63500 h 1303337"/>
                  <a:gd name="connsiteX99" fmla="*/ 541338 w 1076325"/>
                  <a:gd name="connsiteY99" fmla="*/ 103188 h 1303337"/>
                  <a:gd name="connsiteX100" fmla="*/ 581026 w 1076325"/>
                  <a:gd name="connsiteY100" fmla="*/ 142876 h 1303337"/>
                  <a:gd name="connsiteX101" fmla="*/ 620714 w 1076325"/>
                  <a:gd name="connsiteY101" fmla="*/ 103188 h 1303337"/>
                  <a:gd name="connsiteX102" fmla="*/ 581026 w 1076325"/>
                  <a:gd name="connsiteY102" fmla="*/ 63500 h 1303337"/>
                  <a:gd name="connsiteX103" fmla="*/ 581739 w 1076325"/>
                  <a:gd name="connsiteY103" fmla="*/ 0 h 1303337"/>
                  <a:gd name="connsiteX104" fmla="*/ 680184 w 1076325"/>
                  <a:gd name="connsiteY104" fmla="*/ 14293 h 1303337"/>
                  <a:gd name="connsiteX105" fmla="*/ 693738 w 1076325"/>
                  <a:gd name="connsiteY105" fmla="*/ 37163 h 1303337"/>
                  <a:gd name="connsiteX106" fmla="*/ 693738 w 1076325"/>
                  <a:gd name="connsiteY106" fmla="*/ 177952 h 1303337"/>
                  <a:gd name="connsiteX107" fmla="*/ 678044 w 1076325"/>
                  <a:gd name="connsiteY107" fmla="*/ 193675 h 1303337"/>
                  <a:gd name="connsiteX108" fmla="*/ 484007 w 1076325"/>
                  <a:gd name="connsiteY108" fmla="*/ 193675 h 1303337"/>
                  <a:gd name="connsiteX109" fmla="*/ 468313 w 1076325"/>
                  <a:gd name="connsiteY109" fmla="*/ 177952 h 1303337"/>
                  <a:gd name="connsiteX110" fmla="*/ 468313 w 1076325"/>
                  <a:gd name="connsiteY110" fmla="*/ 37163 h 1303337"/>
                  <a:gd name="connsiteX111" fmla="*/ 482581 w 1076325"/>
                  <a:gd name="connsiteY111" fmla="*/ 14293 h 1303337"/>
                  <a:gd name="connsiteX112" fmla="*/ 581739 w 1076325"/>
                  <a:gd name="connsiteY112" fmla="*/ 0 h 1303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076325" h="1303337">
                    <a:moveTo>
                      <a:pt x="581026" y="876300"/>
                    </a:moveTo>
                    <a:cubicBezTo>
                      <a:pt x="559107" y="876300"/>
                      <a:pt x="541338" y="894069"/>
                      <a:pt x="541338" y="915988"/>
                    </a:cubicBezTo>
                    <a:cubicBezTo>
                      <a:pt x="541338" y="937907"/>
                      <a:pt x="559107" y="955676"/>
                      <a:pt x="581026" y="955676"/>
                    </a:cubicBezTo>
                    <a:cubicBezTo>
                      <a:pt x="602945" y="955676"/>
                      <a:pt x="620714" y="937907"/>
                      <a:pt x="620714" y="915988"/>
                    </a:cubicBezTo>
                    <a:cubicBezTo>
                      <a:pt x="620714" y="894069"/>
                      <a:pt x="602945" y="876300"/>
                      <a:pt x="581026" y="876300"/>
                    </a:cubicBezTo>
                    <a:close/>
                    <a:moveTo>
                      <a:pt x="484007" y="830262"/>
                    </a:moveTo>
                    <a:cubicBezTo>
                      <a:pt x="484007" y="830262"/>
                      <a:pt x="484007" y="830262"/>
                      <a:pt x="678044" y="830262"/>
                    </a:cubicBezTo>
                    <a:cubicBezTo>
                      <a:pt x="686605" y="830262"/>
                      <a:pt x="693738" y="837387"/>
                      <a:pt x="693738" y="845936"/>
                    </a:cubicBezTo>
                    <a:cubicBezTo>
                      <a:pt x="693738" y="845936"/>
                      <a:pt x="693738" y="845936"/>
                      <a:pt x="693738" y="1287663"/>
                    </a:cubicBezTo>
                    <a:cubicBezTo>
                      <a:pt x="693738" y="1296213"/>
                      <a:pt x="686605" y="1303337"/>
                      <a:pt x="678044" y="1303337"/>
                    </a:cubicBezTo>
                    <a:cubicBezTo>
                      <a:pt x="678044" y="1303337"/>
                      <a:pt x="678044" y="1303337"/>
                      <a:pt x="484007" y="1303337"/>
                    </a:cubicBezTo>
                    <a:cubicBezTo>
                      <a:pt x="475447" y="1303337"/>
                      <a:pt x="468313" y="1296213"/>
                      <a:pt x="468313" y="1287663"/>
                    </a:cubicBezTo>
                    <a:cubicBezTo>
                      <a:pt x="468313" y="1287663"/>
                      <a:pt x="468313" y="1287663"/>
                      <a:pt x="468313" y="845936"/>
                    </a:cubicBezTo>
                    <a:cubicBezTo>
                      <a:pt x="468313" y="837387"/>
                      <a:pt x="475447" y="830262"/>
                      <a:pt x="484007" y="830262"/>
                    </a:cubicBezTo>
                    <a:close/>
                    <a:moveTo>
                      <a:pt x="810793" y="436562"/>
                    </a:moveTo>
                    <a:cubicBezTo>
                      <a:pt x="806414" y="436562"/>
                      <a:pt x="801305" y="437264"/>
                      <a:pt x="796925" y="437965"/>
                    </a:cubicBezTo>
                    <a:cubicBezTo>
                      <a:pt x="796925" y="437965"/>
                      <a:pt x="796925" y="437965"/>
                      <a:pt x="796925" y="496186"/>
                    </a:cubicBezTo>
                    <a:cubicBezTo>
                      <a:pt x="804954" y="496186"/>
                      <a:pt x="810063" y="496887"/>
                      <a:pt x="813713" y="496887"/>
                    </a:cubicBezTo>
                    <a:cubicBezTo>
                      <a:pt x="830500" y="496887"/>
                      <a:pt x="842178" y="494783"/>
                      <a:pt x="849477" y="490574"/>
                    </a:cubicBezTo>
                    <a:cubicBezTo>
                      <a:pt x="856776" y="485664"/>
                      <a:pt x="860425" y="477246"/>
                      <a:pt x="860425" y="464620"/>
                    </a:cubicBezTo>
                    <a:cubicBezTo>
                      <a:pt x="860425" y="454098"/>
                      <a:pt x="856776" y="447084"/>
                      <a:pt x="848747" y="442875"/>
                    </a:cubicBezTo>
                    <a:cubicBezTo>
                      <a:pt x="840718" y="438666"/>
                      <a:pt x="828310" y="436562"/>
                      <a:pt x="810793" y="436562"/>
                    </a:cubicBezTo>
                    <a:close/>
                    <a:moveTo>
                      <a:pt x="939800" y="403225"/>
                    </a:moveTo>
                    <a:cubicBezTo>
                      <a:pt x="1076325" y="403225"/>
                      <a:pt x="1076325" y="403225"/>
                      <a:pt x="1076325" y="403225"/>
                    </a:cubicBezTo>
                    <a:cubicBezTo>
                      <a:pt x="1076325" y="437490"/>
                      <a:pt x="1076325" y="437490"/>
                      <a:pt x="1076325" y="437490"/>
                    </a:cubicBezTo>
                    <a:cubicBezTo>
                      <a:pt x="977684" y="437490"/>
                      <a:pt x="977684" y="437490"/>
                      <a:pt x="977684" y="437490"/>
                    </a:cubicBezTo>
                    <a:cubicBezTo>
                      <a:pt x="977684" y="487459"/>
                      <a:pt x="977684" y="487459"/>
                      <a:pt x="977684" y="487459"/>
                    </a:cubicBezTo>
                    <a:cubicBezTo>
                      <a:pt x="1048448" y="487459"/>
                      <a:pt x="1048448" y="487459"/>
                      <a:pt x="1048448" y="487459"/>
                    </a:cubicBezTo>
                    <a:cubicBezTo>
                      <a:pt x="1048448" y="519581"/>
                      <a:pt x="1048448" y="519581"/>
                      <a:pt x="1048448" y="519581"/>
                    </a:cubicBezTo>
                    <a:cubicBezTo>
                      <a:pt x="977684" y="519581"/>
                      <a:pt x="977684" y="519581"/>
                      <a:pt x="977684" y="519581"/>
                    </a:cubicBezTo>
                    <a:cubicBezTo>
                      <a:pt x="977684" y="582400"/>
                      <a:pt x="977684" y="582400"/>
                      <a:pt x="977684" y="582400"/>
                    </a:cubicBezTo>
                    <a:cubicBezTo>
                      <a:pt x="1074896" y="582400"/>
                      <a:pt x="1074896" y="582400"/>
                      <a:pt x="1074896" y="582400"/>
                    </a:cubicBezTo>
                    <a:cubicBezTo>
                      <a:pt x="1074896" y="615950"/>
                      <a:pt x="1074896" y="615950"/>
                      <a:pt x="1074896" y="615950"/>
                    </a:cubicBezTo>
                    <a:cubicBezTo>
                      <a:pt x="939800" y="615950"/>
                      <a:pt x="939800" y="615950"/>
                      <a:pt x="939800" y="615950"/>
                    </a:cubicBezTo>
                    <a:cubicBezTo>
                      <a:pt x="939800" y="403225"/>
                      <a:pt x="939800" y="403225"/>
                      <a:pt x="939800" y="403225"/>
                    </a:cubicBezTo>
                    <a:close/>
                    <a:moveTo>
                      <a:pt x="557213" y="403225"/>
                    </a:moveTo>
                    <a:cubicBezTo>
                      <a:pt x="595113" y="403225"/>
                      <a:pt x="595113" y="403225"/>
                      <a:pt x="595113" y="403225"/>
                    </a:cubicBezTo>
                    <a:cubicBezTo>
                      <a:pt x="595113" y="549036"/>
                      <a:pt x="595113" y="549036"/>
                      <a:pt x="595113" y="549036"/>
                    </a:cubicBezTo>
                    <a:cubicBezTo>
                      <a:pt x="595113" y="560528"/>
                      <a:pt x="598688" y="569866"/>
                      <a:pt x="605124" y="577049"/>
                    </a:cubicBezTo>
                    <a:cubicBezTo>
                      <a:pt x="612275" y="584231"/>
                      <a:pt x="622286" y="587823"/>
                      <a:pt x="634443" y="587823"/>
                    </a:cubicBezTo>
                    <a:cubicBezTo>
                      <a:pt x="648030" y="587823"/>
                      <a:pt x="658756" y="584950"/>
                      <a:pt x="666622" y="577767"/>
                    </a:cubicBezTo>
                    <a:cubicBezTo>
                      <a:pt x="673773" y="570584"/>
                      <a:pt x="678063" y="560528"/>
                      <a:pt x="678063" y="548317"/>
                    </a:cubicBezTo>
                    <a:cubicBezTo>
                      <a:pt x="678063" y="403225"/>
                      <a:pt x="678063" y="403225"/>
                      <a:pt x="678063" y="403225"/>
                    </a:cubicBezTo>
                    <a:cubicBezTo>
                      <a:pt x="715963" y="403225"/>
                      <a:pt x="715963" y="403225"/>
                      <a:pt x="715963" y="403225"/>
                    </a:cubicBezTo>
                    <a:cubicBezTo>
                      <a:pt x="715963" y="551191"/>
                      <a:pt x="715963" y="551191"/>
                      <a:pt x="715963" y="551191"/>
                    </a:cubicBezTo>
                    <a:cubicBezTo>
                      <a:pt x="715963" y="573457"/>
                      <a:pt x="708097" y="590696"/>
                      <a:pt x="693795" y="602907"/>
                    </a:cubicBezTo>
                    <a:cubicBezTo>
                      <a:pt x="678779" y="615836"/>
                      <a:pt x="659471" y="622300"/>
                      <a:pt x="634443" y="622300"/>
                    </a:cubicBezTo>
                    <a:cubicBezTo>
                      <a:pt x="609415" y="622300"/>
                      <a:pt x="590822" y="615836"/>
                      <a:pt x="577236" y="603625"/>
                    </a:cubicBezTo>
                    <a:cubicBezTo>
                      <a:pt x="563649" y="591414"/>
                      <a:pt x="557213" y="574175"/>
                      <a:pt x="557213" y="551191"/>
                    </a:cubicBezTo>
                    <a:cubicBezTo>
                      <a:pt x="557213" y="403225"/>
                      <a:pt x="557213" y="403225"/>
                      <a:pt x="557213" y="403225"/>
                    </a:cubicBezTo>
                    <a:close/>
                    <a:moveTo>
                      <a:pt x="357188" y="403225"/>
                    </a:moveTo>
                    <a:cubicBezTo>
                      <a:pt x="531813" y="403225"/>
                      <a:pt x="531813" y="403225"/>
                      <a:pt x="531813" y="403225"/>
                    </a:cubicBezTo>
                    <a:cubicBezTo>
                      <a:pt x="531813" y="437490"/>
                      <a:pt x="531813" y="437490"/>
                      <a:pt x="531813" y="437490"/>
                    </a:cubicBezTo>
                    <a:cubicBezTo>
                      <a:pt x="461537" y="437490"/>
                      <a:pt x="461537" y="437490"/>
                      <a:pt x="461537" y="437490"/>
                    </a:cubicBezTo>
                    <a:cubicBezTo>
                      <a:pt x="461537" y="615950"/>
                      <a:pt x="461537" y="615950"/>
                      <a:pt x="461537" y="615950"/>
                    </a:cubicBezTo>
                    <a:cubicBezTo>
                      <a:pt x="423914" y="615950"/>
                      <a:pt x="423914" y="615950"/>
                      <a:pt x="423914" y="615950"/>
                    </a:cubicBezTo>
                    <a:cubicBezTo>
                      <a:pt x="423914" y="437490"/>
                      <a:pt x="423914" y="437490"/>
                      <a:pt x="423914" y="437490"/>
                    </a:cubicBezTo>
                    <a:cubicBezTo>
                      <a:pt x="357188" y="437490"/>
                      <a:pt x="357188" y="437490"/>
                      <a:pt x="357188" y="437490"/>
                    </a:cubicBezTo>
                    <a:cubicBezTo>
                      <a:pt x="357188" y="403225"/>
                      <a:pt x="357188" y="403225"/>
                      <a:pt x="357188" y="403225"/>
                    </a:cubicBezTo>
                    <a:close/>
                    <a:moveTo>
                      <a:pt x="173038" y="403225"/>
                    </a:moveTo>
                    <a:cubicBezTo>
                      <a:pt x="210938" y="403225"/>
                      <a:pt x="210938" y="403225"/>
                      <a:pt x="210938" y="403225"/>
                    </a:cubicBezTo>
                    <a:cubicBezTo>
                      <a:pt x="210938" y="549036"/>
                      <a:pt x="210938" y="549036"/>
                      <a:pt x="210938" y="549036"/>
                    </a:cubicBezTo>
                    <a:cubicBezTo>
                      <a:pt x="210938" y="560528"/>
                      <a:pt x="213798" y="569866"/>
                      <a:pt x="220949" y="577049"/>
                    </a:cubicBezTo>
                    <a:cubicBezTo>
                      <a:pt x="228100" y="584231"/>
                      <a:pt x="238111" y="587823"/>
                      <a:pt x="250267" y="587823"/>
                    </a:cubicBezTo>
                    <a:cubicBezTo>
                      <a:pt x="263854" y="587823"/>
                      <a:pt x="274581" y="584950"/>
                      <a:pt x="281731" y="577767"/>
                    </a:cubicBezTo>
                    <a:cubicBezTo>
                      <a:pt x="289597" y="570584"/>
                      <a:pt x="293888" y="560528"/>
                      <a:pt x="293888" y="548317"/>
                    </a:cubicBezTo>
                    <a:cubicBezTo>
                      <a:pt x="293888" y="403225"/>
                      <a:pt x="293888" y="403225"/>
                      <a:pt x="293888" y="403225"/>
                    </a:cubicBezTo>
                    <a:cubicBezTo>
                      <a:pt x="331788" y="403225"/>
                      <a:pt x="331788" y="403225"/>
                      <a:pt x="331788" y="403225"/>
                    </a:cubicBezTo>
                    <a:cubicBezTo>
                      <a:pt x="331788" y="551191"/>
                      <a:pt x="331788" y="551191"/>
                      <a:pt x="331788" y="551191"/>
                    </a:cubicBezTo>
                    <a:cubicBezTo>
                      <a:pt x="331788" y="573457"/>
                      <a:pt x="323922" y="590696"/>
                      <a:pt x="309620" y="602907"/>
                    </a:cubicBezTo>
                    <a:cubicBezTo>
                      <a:pt x="294603" y="615836"/>
                      <a:pt x="275296" y="622300"/>
                      <a:pt x="250267" y="622300"/>
                    </a:cubicBezTo>
                    <a:cubicBezTo>
                      <a:pt x="225239" y="622300"/>
                      <a:pt x="206647" y="615836"/>
                      <a:pt x="193060" y="603625"/>
                    </a:cubicBezTo>
                    <a:cubicBezTo>
                      <a:pt x="179474" y="591414"/>
                      <a:pt x="173038" y="574175"/>
                      <a:pt x="173038" y="551191"/>
                    </a:cubicBezTo>
                    <a:cubicBezTo>
                      <a:pt x="173038" y="403225"/>
                      <a:pt x="173038" y="403225"/>
                      <a:pt x="173038" y="403225"/>
                    </a:cubicBezTo>
                    <a:close/>
                    <a:moveTo>
                      <a:pt x="0" y="403225"/>
                    </a:moveTo>
                    <a:cubicBezTo>
                      <a:pt x="139700" y="403225"/>
                      <a:pt x="139700" y="403225"/>
                      <a:pt x="139700" y="403225"/>
                    </a:cubicBezTo>
                    <a:cubicBezTo>
                      <a:pt x="139700" y="437490"/>
                      <a:pt x="139700" y="437490"/>
                      <a:pt x="139700" y="437490"/>
                    </a:cubicBezTo>
                    <a:cubicBezTo>
                      <a:pt x="37776" y="437490"/>
                      <a:pt x="37776" y="437490"/>
                      <a:pt x="37776" y="437490"/>
                    </a:cubicBezTo>
                    <a:cubicBezTo>
                      <a:pt x="37776" y="487459"/>
                      <a:pt x="37776" y="487459"/>
                      <a:pt x="37776" y="487459"/>
                    </a:cubicBezTo>
                    <a:cubicBezTo>
                      <a:pt x="111902" y="487459"/>
                      <a:pt x="111902" y="487459"/>
                      <a:pt x="111902" y="487459"/>
                    </a:cubicBezTo>
                    <a:cubicBezTo>
                      <a:pt x="111902" y="519581"/>
                      <a:pt x="111902" y="519581"/>
                      <a:pt x="111902" y="519581"/>
                    </a:cubicBezTo>
                    <a:cubicBezTo>
                      <a:pt x="37776" y="519581"/>
                      <a:pt x="37776" y="519581"/>
                      <a:pt x="37776" y="519581"/>
                    </a:cubicBezTo>
                    <a:cubicBezTo>
                      <a:pt x="37776" y="615950"/>
                      <a:pt x="37776" y="615950"/>
                      <a:pt x="37776" y="615950"/>
                    </a:cubicBezTo>
                    <a:cubicBezTo>
                      <a:pt x="0" y="615950"/>
                      <a:pt x="0" y="615950"/>
                      <a:pt x="0" y="615950"/>
                    </a:cubicBezTo>
                    <a:cubicBezTo>
                      <a:pt x="0" y="403225"/>
                      <a:pt x="0" y="403225"/>
                      <a:pt x="0" y="403225"/>
                    </a:cubicBezTo>
                    <a:close/>
                    <a:moveTo>
                      <a:pt x="819678" y="401637"/>
                    </a:moveTo>
                    <a:cubicBezTo>
                      <a:pt x="873230" y="401637"/>
                      <a:pt x="900363" y="423068"/>
                      <a:pt x="900363" y="465216"/>
                    </a:cubicBezTo>
                    <a:cubicBezTo>
                      <a:pt x="900363" y="476646"/>
                      <a:pt x="896079" y="488076"/>
                      <a:pt x="888939" y="498792"/>
                    </a:cubicBezTo>
                    <a:cubicBezTo>
                      <a:pt x="881084" y="509508"/>
                      <a:pt x="871802" y="516651"/>
                      <a:pt x="860378" y="520937"/>
                    </a:cubicBezTo>
                    <a:cubicBezTo>
                      <a:pt x="860378" y="520937"/>
                      <a:pt x="860378" y="520937"/>
                      <a:pt x="923926" y="615949"/>
                    </a:cubicBezTo>
                    <a:cubicBezTo>
                      <a:pt x="923926" y="615949"/>
                      <a:pt x="923926" y="615949"/>
                      <a:pt x="879656" y="615949"/>
                    </a:cubicBezTo>
                    <a:cubicBezTo>
                      <a:pt x="879656" y="615949"/>
                      <a:pt x="879656" y="615949"/>
                      <a:pt x="823962" y="528796"/>
                    </a:cubicBezTo>
                    <a:cubicBezTo>
                      <a:pt x="818250" y="528796"/>
                      <a:pt x="809681" y="528081"/>
                      <a:pt x="799685" y="528081"/>
                    </a:cubicBezTo>
                    <a:cubicBezTo>
                      <a:pt x="799685" y="528081"/>
                      <a:pt x="799685" y="528081"/>
                      <a:pt x="799685" y="615949"/>
                    </a:cubicBezTo>
                    <a:cubicBezTo>
                      <a:pt x="799685" y="615949"/>
                      <a:pt x="799685" y="615949"/>
                      <a:pt x="760413" y="615949"/>
                    </a:cubicBezTo>
                    <a:cubicBezTo>
                      <a:pt x="760413" y="615949"/>
                      <a:pt x="760413" y="615949"/>
                      <a:pt x="760413" y="403780"/>
                    </a:cubicBezTo>
                    <a:cubicBezTo>
                      <a:pt x="762555" y="403780"/>
                      <a:pt x="770410" y="403780"/>
                      <a:pt x="784690" y="403066"/>
                    </a:cubicBezTo>
                    <a:cubicBezTo>
                      <a:pt x="798971" y="402351"/>
                      <a:pt x="810395" y="401637"/>
                      <a:pt x="819678" y="401637"/>
                    </a:cubicBezTo>
                    <a:close/>
                    <a:moveTo>
                      <a:pt x="581026" y="63500"/>
                    </a:moveTo>
                    <a:cubicBezTo>
                      <a:pt x="559107" y="63500"/>
                      <a:pt x="541338" y="81269"/>
                      <a:pt x="541338" y="103188"/>
                    </a:cubicBezTo>
                    <a:cubicBezTo>
                      <a:pt x="541338" y="125107"/>
                      <a:pt x="559107" y="142876"/>
                      <a:pt x="581026" y="142876"/>
                    </a:cubicBezTo>
                    <a:cubicBezTo>
                      <a:pt x="602945" y="142876"/>
                      <a:pt x="620714" y="125107"/>
                      <a:pt x="620714" y="103188"/>
                    </a:cubicBezTo>
                    <a:cubicBezTo>
                      <a:pt x="620714" y="81269"/>
                      <a:pt x="602945" y="63500"/>
                      <a:pt x="581026" y="63500"/>
                    </a:cubicBezTo>
                    <a:close/>
                    <a:moveTo>
                      <a:pt x="581739" y="0"/>
                    </a:moveTo>
                    <a:cubicBezTo>
                      <a:pt x="653790" y="0"/>
                      <a:pt x="680184" y="14293"/>
                      <a:pt x="680184" y="14293"/>
                    </a:cubicBezTo>
                    <a:cubicBezTo>
                      <a:pt x="687318" y="17867"/>
                      <a:pt x="693738" y="28587"/>
                      <a:pt x="693738" y="37163"/>
                    </a:cubicBezTo>
                    <a:cubicBezTo>
                      <a:pt x="693738" y="37163"/>
                      <a:pt x="693738" y="37163"/>
                      <a:pt x="693738" y="177952"/>
                    </a:cubicBezTo>
                    <a:cubicBezTo>
                      <a:pt x="693738" y="186528"/>
                      <a:pt x="686605" y="193675"/>
                      <a:pt x="678044" y="193675"/>
                    </a:cubicBezTo>
                    <a:cubicBezTo>
                      <a:pt x="678044" y="193675"/>
                      <a:pt x="678044" y="193675"/>
                      <a:pt x="484007" y="193675"/>
                    </a:cubicBezTo>
                    <a:cubicBezTo>
                      <a:pt x="475447" y="193675"/>
                      <a:pt x="468313" y="186528"/>
                      <a:pt x="468313" y="177952"/>
                    </a:cubicBezTo>
                    <a:cubicBezTo>
                      <a:pt x="468313" y="177952"/>
                      <a:pt x="468313" y="177952"/>
                      <a:pt x="468313" y="37163"/>
                    </a:cubicBezTo>
                    <a:cubicBezTo>
                      <a:pt x="468313" y="28587"/>
                      <a:pt x="474734" y="17867"/>
                      <a:pt x="482581" y="14293"/>
                    </a:cubicBezTo>
                    <a:cubicBezTo>
                      <a:pt x="482581" y="14293"/>
                      <a:pt x="508262" y="0"/>
                      <a:pt x="581739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29" name="ee4pFootnotes"/>
          <p:cNvSpPr>
            <a:spLocks noChangeArrowheads="1"/>
          </p:cNvSpPr>
          <p:nvPr/>
        </p:nvSpPr>
        <p:spPr bwMode="auto">
          <a:xfrm>
            <a:off x="629998" y="6657246"/>
            <a:ext cx="841875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</p:spTree>
    <p:extLst>
      <p:ext uri="{BB962C8B-B14F-4D97-AF65-F5344CB8AC3E}">
        <p14:creationId xmlns:p14="http://schemas.microsoft.com/office/powerpoint/2010/main" val="129847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" name="Object 22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62" name="think-cell Slide" r:id="rId9" imgW="536" imgH="535" progId="TCLayout.ActiveDocument.1">
                  <p:embed/>
                </p:oleObj>
              </mc:Choice>
              <mc:Fallback>
                <p:oleObj name="think-cell Slide" r:id="rId9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29941" cy="886397"/>
          </a:xfrm>
        </p:spPr>
        <p:txBody>
          <a:bodyPr/>
          <a:lstStyle/>
          <a:p>
            <a:r>
              <a:rPr lang="en-US" sz="3200" dirty="0"/>
              <a:t>New contract management process assigns most management tasks to a dedicated Project Service Office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9300" y="1956934"/>
            <a:ext cx="919293" cy="1684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Responsible</a:t>
            </a:r>
          </a:p>
        </p:txBody>
      </p:sp>
      <p:sp>
        <p:nvSpPr>
          <p:cNvPr id="56" name="ee4pFootnotes"/>
          <p:cNvSpPr>
            <a:spLocks noChangeArrowheads="1"/>
          </p:cNvSpPr>
          <p:nvPr/>
        </p:nvSpPr>
        <p:spPr bwMode="auto">
          <a:xfrm>
            <a:off x="629998" y="6657246"/>
            <a:ext cx="841875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1403873" y="1593327"/>
            <a:ext cx="10519536" cy="478826"/>
            <a:chOff x="1566843" y="2050398"/>
            <a:chExt cx="10356566" cy="478826"/>
          </a:xfrm>
        </p:grpSpPr>
        <p:sp>
          <p:nvSpPr>
            <p:cNvPr id="65" name="ee4pHeader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66843" y="2050398"/>
              <a:ext cx="2446239" cy="478826"/>
            </a:xfrm>
            <a:prstGeom prst="homePlate">
              <a:avLst>
                <a:gd name="adj" fmla="val 12004"/>
              </a:avLst>
            </a:prstGeom>
            <a:solidFill>
              <a:srgbClr val="B6187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en-US" sz="1400" dirty="0">
                  <a:solidFill>
                    <a:schemeClr val="bg1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Start contract</a:t>
              </a:r>
            </a:p>
          </p:txBody>
        </p:sp>
        <p:sp>
          <p:nvSpPr>
            <p:cNvPr id="66" name="ee4pHeader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013082" y="2050398"/>
              <a:ext cx="4538516" cy="478826"/>
            </a:xfrm>
            <a:prstGeom prst="chevron">
              <a:avLst>
                <a:gd name="adj" fmla="val 12004"/>
              </a:avLst>
            </a:prstGeom>
            <a:solidFill>
              <a:srgbClr val="B6187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en-US" sz="1400" dirty="0">
                  <a:solidFill>
                    <a:schemeClr val="bg1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Manage contract execution</a:t>
              </a:r>
            </a:p>
          </p:txBody>
        </p:sp>
        <p:sp>
          <p:nvSpPr>
            <p:cNvPr id="67" name="ee4pHeader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551599" y="2050398"/>
              <a:ext cx="3371810" cy="478826"/>
            </a:xfrm>
            <a:prstGeom prst="chevron">
              <a:avLst>
                <a:gd name="adj" fmla="val 12004"/>
              </a:avLst>
            </a:prstGeom>
            <a:solidFill>
              <a:srgbClr val="B61872"/>
            </a:solidFill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r>
                <a:rPr lang="en-US" sz="1400" dirty="0">
                  <a:solidFill>
                    <a:schemeClr val="bg1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End contract</a:t>
              </a:r>
            </a:p>
          </p:txBody>
        </p:sp>
      </p:grpSp>
      <p:sp>
        <p:nvSpPr>
          <p:cNvPr id="220" name="TextBox 219"/>
          <p:cNvSpPr txBox="1"/>
          <p:nvPr/>
        </p:nvSpPr>
        <p:spPr>
          <a:xfrm>
            <a:off x="3629751" y="2143856"/>
            <a:ext cx="4596369" cy="4189567"/>
          </a:xfrm>
          <a:prstGeom prst="rect">
            <a:avLst/>
          </a:prstGeom>
          <a:noFill/>
          <a:ln w="12700" cap="flat" cmpd="sng" algn="ctr">
            <a:solidFill>
              <a:srgbClr val="7F7F7F"/>
            </a:solidFill>
            <a:prstDash val="sysDot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/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89300" y="4462515"/>
            <a:ext cx="1159994" cy="68878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Technical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uthority</a:t>
            </a: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2606077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Kick-off meeting (incl. gap action plan)</a:t>
            </a:r>
          </a:p>
        </p:txBody>
      </p:sp>
      <p:sp>
        <p:nvSpPr>
          <p:cNvPr id="14" name="TextColumnContent"/>
          <p:cNvSpPr>
            <a:spLocks noChangeArrowheads="1"/>
          </p:cNvSpPr>
          <p:nvPr/>
        </p:nvSpPr>
        <p:spPr bwMode="gray">
          <a:xfrm>
            <a:off x="9409896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Verify fulfillment of legal, labor, CSR obligations</a:t>
            </a: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8303569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Verify operating closure of contract</a:t>
            </a:r>
            <a:endParaRPr lang="en-US" sz="1000" dirty="0">
              <a:solidFill>
                <a:srgbClr val="575757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ColumnContent"/>
          <p:cNvSpPr>
            <a:spLocks noChangeArrowheads="1"/>
          </p:cNvSpPr>
          <p:nvPr/>
        </p:nvSpPr>
        <p:spPr bwMode="gray">
          <a:xfrm>
            <a:off x="11081629" y="218177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pprove return of holdbacks</a:t>
            </a:r>
          </a:p>
        </p:txBody>
      </p:sp>
      <p:cxnSp>
        <p:nvCxnSpPr>
          <p:cNvPr id="18" name="Elbow Connector 17"/>
          <p:cNvCxnSpPr>
            <a:stCxn id="60" idx="0"/>
            <a:endCxn id="58" idx="2"/>
          </p:cNvCxnSpPr>
          <p:nvPr/>
        </p:nvCxnSpPr>
        <p:spPr>
          <a:xfrm flipV="1">
            <a:off x="5326687" y="3946358"/>
            <a:ext cx="0" cy="537544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431337" y="3280387"/>
            <a:ext cx="0" cy="72925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431337" y="4442278"/>
            <a:ext cx="0" cy="729253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TextColumnContent"/>
          <p:cNvSpPr>
            <a:spLocks noChangeArrowheads="1"/>
          </p:cNvSpPr>
          <p:nvPr/>
        </p:nvSpPr>
        <p:spPr bwMode="gray">
          <a:xfrm>
            <a:off x="630000" y="3978470"/>
            <a:ext cx="919293" cy="68878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endParaRPr lang="en-US" sz="1200" dirty="0">
              <a:solidFill>
                <a:srgbClr val="B61872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5965183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Manage claims from/to the supplier</a:t>
            </a:r>
          </a:p>
        </p:txBody>
      </p:sp>
      <p:cxnSp>
        <p:nvCxnSpPr>
          <p:cNvPr id="25" name="Elbow Connector 58"/>
          <p:cNvCxnSpPr>
            <a:stCxn id="12" idx="2"/>
            <a:endCxn id="57" idx="1"/>
          </p:cNvCxnSpPr>
          <p:nvPr/>
        </p:nvCxnSpPr>
        <p:spPr>
          <a:xfrm rot="16200000" flipH="1">
            <a:off x="2976230" y="4079125"/>
            <a:ext cx="838889" cy="573354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ColumnContent"/>
          <p:cNvSpPr>
            <a:spLocks noChangeArrowheads="1"/>
          </p:cNvSpPr>
          <p:nvPr/>
        </p:nvSpPr>
        <p:spPr bwMode="gray">
          <a:xfrm>
            <a:off x="7106598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Define contract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modifications, suspension, termination</a:t>
            </a:r>
          </a:p>
        </p:txBody>
      </p:sp>
      <p:sp>
        <p:nvSpPr>
          <p:cNvPr id="29" name="TextColumnContent"/>
          <p:cNvSpPr>
            <a:spLocks noChangeArrowheads="1"/>
          </p:cNvSpPr>
          <p:nvPr/>
        </p:nvSpPr>
        <p:spPr bwMode="gray">
          <a:xfrm>
            <a:off x="9970455" y="218177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reate contract settlement process</a:t>
            </a:r>
          </a:p>
        </p:txBody>
      </p:sp>
      <p:sp>
        <p:nvSpPr>
          <p:cNvPr id="30" name="TextColumnContent"/>
          <p:cNvSpPr>
            <a:spLocks noChangeArrowheads="1"/>
          </p:cNvSpPr>
          <p:nvPr/>
        </p:nvSpPr>
        <p:spPr bwMode="gray">
          <a:xfrm>
            <a:off x="389300" y="2138733"/>
            <a:ext cx="1159994" cy="68878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ategory leader/</a:t>
            </a:r>
            <a:b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pecialist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1431337" y="2118496"/>
            <a:ext cx="0" cy="72925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389300" y="3300624"/>
            <a:ext cx="1159994" cy="68878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Project service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officer/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ontract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manager</a:t>
            </a:r>
          </a:p>
        </p:txBody>
      </p:sp>
      <p:cxnSp>
        <p:nvCxnSpPr>
          <p:cNvPr id="36" name="Elbow Connector 35"/>
          <p:cNvCxnSpPr>
            <a:stCxn id="22" idx="3"/>
            <a:endCxn id="26" idx="1"/>
          </p:cNvCxnSpPr>
          <p:nvPr/>
        </p:nvCxnSpPr>
        <p:spPr>
          <a:xfrm>
            <a:off x="6971023" y="3645014"/>
            <a:ext cx="135575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58"/>
          <p:cNvCxnSpPr>
            <a:stCxn id="26" idx="0"/>
            <a:endCxn id="123" idx="2"/>
          </p:cNvCxnSpPr>
          <p:nvPr/>
        </p:nvCxnSpPr>
        <p:spPr>
          <a:xfrm flipV="1">
            <a:off x="7609518" y="2784468"/>
            <a:ext cx="0" cy="559201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58"/>
          <p:cNvCxnSpPr>
            <a:stCxn id="26" idx="2"/>
            <a:endCxn id="15" idx="1"/>
          </p:cNvCxnSpPr>
          <p:nvPr/>
        </p:nvCxnSpPr>
        <p:spPr>
          <a:xfrm rot="16200000" flipH="1">
            <a:off x="7236086" y="4319790"/>
            <a:ext cx="860547" cy="113682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58"/>
          <p:cNvCxnSpPr>
            <a:stCxn id="16" idx="3"/>
            <a:endCxn id="14" idx="1"/>
          </p:cNvCxnSpPr>
          <p:nvPr/>
        </p:nvCxnSpPr>
        <p:spPr>
          <a:xfrm>
            <a:off x="9309409" y="3645014"/>
            <a:ext cx="100487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4" idx="2"/>
            <a:endCxn id="89" idx="0"/>
          </p:cNvCxnSpPr>
          <p:nvPr/>
        </p:nvCxnSpPr>
        <p:spPr>
          <a:xfrm>
            <a:off x="9912816" y="3946358"/>
            <a:ext cx="0" cy="1721094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89" idx="3"/>
            <a:endCxn id="29" idx="2"/>
          </p:cNvCxnSpPr>
          <p:nvPr/>
        </p:nvCxnSpPr>
        <p:spPr>
          <a:xfrm flipV="1">
            <a:off x="10415736" y="2784468"/>
            <a:ext cx="57639" cy="3184329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29" idx="3"/>
            <a:endCxn id="17" idx="1"/>
          </p:cNvCxnSpPr>
          <p:nvPr/>
        </p:nvCxnSpPr>
        <p:spPr>
          <a:xfrm>
            <a:off x="10976295" y="2483124"/>
            <a:ext cx="105334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ColumnContent"/>
          <p:cNvSpPr>
            <a:spLocks noChangeArrowheads="1"/>
          </p:cNvSpPr>
          <p:nvPr/>
        </p:nvSpPr>
        <p:spPr bwMode="gray">
          <a:xfrm>
            <a:off x="1509381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eceive contract with subscribed holdbacks</a:t>
            </a:r>
          </a:p>
        </p:txBody>
      </p:sp>
      <p:sp>
        <p:nvSpPr>
          <p:cNvPr id="51" name="TextColumnContent"/>
          <p:cNvSpPr>
            <a:spLocks noChangeArrowheads="1"/>
          </p:cNvSpPr>
          <p:nvPr/>
        </p:nvSpPr>
        <p:spPr bwMode="gray">
          <a:xfrm>
            <a:off x="389300" y="5624406"/>
            <a:ext cx="1159994" cy="688780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38468F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upplier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1431337" y="5604170"/>
            <a:ext cx="0" cy="729253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Elbow Connector 58"/>
          <p:cNvCxnSpPr>
            <a:stCxn id="50" idx="3"/>
            <a:endCxn id="12" idx="1"/>
          </p:cNvCxnSpPr>
          <p:nvPr/>
        </p:nvCxnSpPr>
        <p:spPr>
          <a:xfrm>
            <a:off x="2515221" y="3645014"/>
            <a:ext cx="90856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ColumnContent"/>
          <p:cNvSpPr>
            <a:spLocks noChangeArrowheads="1"/>
          </p:cNvSpPr>
          <p:nvPr/>
        </p:nvSpPr>
        <p:spPr bwMode="gray">
          <a:xfrm>
            <a:off x="3682351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Generate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work orders</a:t>
            </a:r>
          </a:p>
        </p:txBody>
      </p:sp>
      <p:sp>
        <p:nvSpPr>
          <p:cNvPr id="89" name="TextColumnContent"/>
          <p:cNvSpPr>
            <a:spLocks noChangeArrowheads="1"/>
          </p:cNvSpPr>
          <p:nvPr/>
        </p:nvSpPr>
        <p:spPr bwMode="gray">
          <a:xfrm>
            <a:off x="9409896" y="5667452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ccept completion of contract obligations</a:t>
            </a:r>
          </a:p>
        </p:txBody>
      </p:sp>
      <p:sp>
        <p:nvSpPr>
          <p:cNvPr id="123" name="TextColumnContent"/>
          <p:cNvSpPr>
            <a:spLocks noChangeArrowheads="1"/>
          </p:cNvSpPr>
          <p:nvPr/>
        </p:nvSpPr>
        <p:spPr bwMode="gray">
          <a:xfrm>
            <a:off x="7106598" y="218177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Create contract changes (amendments, etc.)</a:t>
            </a:r>
          </a:p>
        </p:txBody>
      </p:sp>
      <p:cxnSp>
        <p:nvCxnSpPr>
          <p:cNvPr id="139" name="Elbow Connector 58"/>
          <p:cNvCxnSpPr>
            <a:stCxn id="15" idx="3"/>
            <a:endCxn id="16" idx="2"/>
          </p:cNvCxnSpPr>
          <p:nvPr/>
        </p:nvCxnSpPr>
        <p:spPr>
          <a:xfrm flipV="1">
            <a:off x="8729040" y="3946358"/>
            <a:ext cx="77449" cy="860547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58"/>
          <p:cNvCxnSpPr>
            <a:stCxn id="75" idx="3"/>
            <a:endCxn id="58" idx="1"/>
          </p:cNvCxnSpPr>
          <p:nvPr/>
        </p:nvCxnSpPr>
        <p:spPr>
          <a:xfrm>
            <a:off x="4688191" y="3645014"/>
            <a:ext cx="135576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ColumnContent"/>
          <p:cNvSpPr>
            <a:spLocks noChangeArrowheads="1"/>
          </p:cNvSpPr>
          <p:nvPr/>
        </p:nvSpPr>
        <p:spPr bwMode="gray">
          <a:xfrm>
            <a:off x="4823767" y="3343669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Track contract's time and budget execution </a:t>
            </a:r>
          </a:p>
        </p:txBody>
      </p:sp>
      <p:grpSp>
        <p:nvGrpSpPr>
          <p:cNvPr id="214" name="Group 213"/>
          <p:cNvGrpSpPr/>
          <p:nvPr/>
        </p:nvGrpSpPr>
        <p:grpSpPr>
          <a:xfrm>
            <a:off x="3826911" y="2339816"/>
            <a:ext cx="849547" cy="703557"/>
            <a:chOff x="6034477" y="4865172"/>
            <a:chExt cx="1130747" cy="936434"/>
          </a:xfrm>
        </p:grpSpPr>
        <p:sp>
          <p:nvSpPr>
            <p:cNvPr id="215" name="TextBox 214"/>
            <p:cNvSpPr txBox="1"/>
            <p:nvPr/>
          </p:nvSpPr>
          <p:spPr>
            <a:xfrm flipH="1">
              <a:off x="6034477" y="5139419"/>
              <a:ext cx="1130747" cy="36868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dirty="0"/>
                <a:t>Iterative process</a:t>
              </a:r>
            </a:p>
          </p:txBody>
        </p:sp>
        <p:sp>
          <p:nvSpPr>
            <p:cNvPr id="216" name="Arc 215"/>
            <p:cNvSpPr/>
            <p:nvPr/>
          </p:nvSpPr>
          <p:spPr>
            <a:xfrm>
              <a:off x="6231178" y="4865172"/>
              <a:ext cx="914400" cy="914400"/>
            </a:xfrm>
            <a:prstGeom prst="arc">
              <a:avLst>
                <a:gd name="adj1" fmla="val 16200000"/>
                <a:gd name="adj2" fmla="val 5391011"/>
              </a:avLst>
            </a:prstGeom>
            <a:ln w="12700">
              <a:solidFill>
                <a:srgbClr val="7F7F7F"/>
              </a:solidFill>
              <a:prstDash val="sysDot"/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217" name="Arc 216"/>
            <p:cNvSpPr/>
            <p:nvPr/>
          </p:nvSpPr>
          <p:spPr>
            <a:xfrm flipH="1">
              <a:off x="6070428" y="4887206"/>
              <a:ext cx="914400" cy="914400"/>
            </a:xfrm>
            <a:prstGeom prst="arc">
              <a:avLst>
                <a:gd name="adj1" fmla="val 16200000"/>
                <a:gd name="adj2" fmla="val 5391011"/>
              </a:avLst>
            </a:prstGeom>
            <a:ln w="9525">
              <a:solidFill>
                <a:srgbClr val="7F7F7F"/>
              </a:solidFill>
              <a:prstDash val="sysDot"/>
              <a:miter lim="800000"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</p:grpSp>
      <p:cxnSp>
        <p:nvCxnSpPr>
          <p:cNvPr id="62" name="Elbow Connector 35"/>
          <p:cNvCxnSpPr>
            <a:stCxn id="58" idx="3"/>
            <a:endCxn id="22" idx="1"/>
          </p:cNvCxnSpPr>
          <p:nvPr/>
        </p:nvCxnSpPr>
        <p:spPr>
          <a:xfrm>
            <a:off x="5829607" y="3645014"/>
            <a:ext cx="135576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58"/>
          <p:cNvCxnSpPr>
            <a:stCxn id="58" idx="0"/>
            <a:endCxn id="123" idx="2"/>
          </p:cNvCxnSpPr>
          <p:nvPr/>
        </p:nvCxnSpPr>
        <p:spPr>
          <a:xfrm rot="5400000" flipH="1" flipV="1">
            <a:off x="6188502" y="1922654"/>
            <a:ext cx="559201" cy="2282831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ColumnContent"/>
          <p:cNvSpPr>
            <a:spLocks noChangeArrowheads="1"/>
          </p:cNvSpPr>
          <p:nvPr/>
        </p:nvSpPr>
        <p:spPr bwMode="gray">
          <a:xfrm>
            <a:off x="3682351" y="4483902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Define goods/service request</a:t>
            </a:r>
          </a:p>
        </p:txBody>
      </p:sp>
      <p:sp>
        <p:nvSpPr>
          <p:cNvPr id="60" name="TextColumnContent"/>
          <p:cNvSpPr>
            <a:spLocks noChangeArrowheads="1"/>
          </p:cNvSpPr>
          <p:nvPr/>
        </p:nvSpPr>
        <p:spPr bwMode="gray">
          <a:xfrm>
            <a:off x="4823767" y="4483902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Support contract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erformance</a:t>
            </a:r>
          </a:p>
        </p:txBody>
      </p:sp>
      <p:cxnSp>
        <p:nvCxnSpPr>
          <p:cNvPr id="73" name="Elbow Connector 58"/>
          <p:cNvCxnSpPr>
            <a:stCxn id="57" idx="0"/>
            <a:endCxn id="75" idx="2"/>
          </p:cNvCxnSpPr>
          <p:nvPr/>
        </p:nvCxnSpPr>
        <p:spPr>
          <a:xfrm flipV="1">
            <a:off x="4185271" y="3946358"/>
            <a:ext cx="0" cy="537544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ColumnContent"/>
          <p:cNvSpPr>
            <a:spLocks noChangeArrowheads="1"/>
          </p:cNvSpPr>
          <p:nvPr/>
        </p:nvSpPr>
        <p:spPr bwMode="gray">
          <a:xfrm>
            <a:off x="5536704" y="5667452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Create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xQ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 document</a:t>
            </a:r>
          </a:p>
        </p:txBody>
      </p:sp>
      <p:sp>
        <p:nvSpPr>
          <p:cNvPr id="77" name="TextColumnContent"/>
          <p:cNvSpPr>
            <a:spLocks noChangeArrowheads="1"/>
          </p:cNvSpPr>
          <p:nvPr/>
        </p:nvSpPr>
        <p:spPr bwMode="gray">
          <a:xfrm>
            <a:off x="6155270" y="4505560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Validate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xQ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 document</a:t>
            </a:r>
          </a:p>
        </p:txBody>
      </p:sp>
      <p:cxnSp>
        <p:nvCxnSpPr>
          <p:cNvPr id="80" name="Elbow Connector 58"/>
          <p:cNvCxnSpPr>
            <a:stCxn id="12" idx="2"/>
            <a:endCxn id="74" idx="1"/>
          </p:cNvCxnSpPr>
          <p:nvPr/>
        </p:nvCxnSpPr>
        <p:spPr>
          <a:xfrm rot="16200000" flipH="1">
            <a:off x="2132995" y="4922360"/>
            <a:ext cx="2022439" cy="70434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58"/>
          <p:cNvCxnSpPr>
            <a:stCxn id="77" idx="3"/>
            <a:endCxn id="15" idx="1"/>
          </p:cNvCxnSpPr>
          <p:nvPr/>
        </p:nvCxnSpPr>
        <p:spPr>
          <a:xfrm>
            <a:off x="7161110" y="4806905"/>
            <a:ext cx="562090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58"/>
          <p:cNvCxnSpPr>
            <a:stCxn id="76" idx="3"/>
            <a:endCxn id="77" idx="2"/>
          </p:cNvCxnSpPr>
          <p:nvPr/>
        </p:nvCxnSpPr>
        <p:spPr>
          <a:xfrm flipV="1">
            <a:off x="6542544" y="5108249"/>
            <a:ext cx="115646" cy="860548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58"/>
          <p:cNvCxnSpPr>
            <a:stCxn id="75" idx="3"/>
            <a:endCxn id="76" idx="1"/>
          </p:cNvCxnSpPr>
          <p:nvPr/>
        </p:nvCxnSpPr>
        <p:spPr>
          <a:xfrm>
            <a:off x="4688191" y="3645014"/>
            <a:ext cx="848513" cy="2323783"/>
          </a:xfrm>
          <a:prstGeom prst="bentConnector3">
            <a:avLst>
              <a:gd name="adj1" fmla="val 6916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3634296" y="5571930"/>
            <a:ext cx="837398" cy="761493"/>
          </a:xfrm>
          <a:prstGeom prst="rect">
            <a:avLst/>
          </a:prstGeom>
          <a:noFill/>
          <a:ln w="12700" cap="flat" cmpd="sng" algn="ctr">
            <a:solidFill>
              <a:srgbClr val="7F7F7F"/>
            </a:solidFill>
            <a:prstDash val="sysDot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/>
          </a:p>
        </p:txBody>
      </p:sp>
      <p:sp>
        <p:nvSpPr>
          <p:cNvPr id="70" name="Rectangle 69"/>
          <p:cNvSpPr/>
          <p:nvPr/>
        </p:nvSpPr>
        <p:spPr>
          <a:xfrm>
            <a:off x="3485238" y="6285037"/>
            <a:ext cx="986455" cy="244345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4" name="TextColumnContent"/>
          <p:cNvSpPr>
            <a:spLocks noChangeArrowheads="1"/>
          </p:cNvSpPr>
          <p:nvPr/>
        </p:nvSpPr>
        <p:spPr bwMode="gray">
          <a:xfrm>
            <a:off x="3179431" y="5667452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resent working team, required docs,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workplan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, etc.</a:t>
            </a:r>
          </a:p>
        </p:txBody>
      </p:sp>
      <p:sp>
        <p:nvSpPr>
          <p:cNvPr id="96" name="Rectangle 95"/>
          <p:cNvSpPr/>
          <p:nvPr/>
        </p:nvSpPr>
        <p:spPr>
          <a:xfrm>
            <a:off x="3482773" y="5582193"/>
            <a:ext cx="986455" cy="77855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8226119" y="4270181"/>
            <a:ext cx="850180" cy="2063242"/>
          </a:xfrm>
          <a:prstGeom prst="rect">
            <a:avLst/>
          </a:prstGeom>
          <a:noFill/>
          <a:ln w="12700" cap="flat" cmpd="sng" algn="ctr">
            <a:solidFill>
              <a:srgbClr val="7F7F7F"/>
            </a:solidFill>
            <a:prstDash val="sysDot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sz="1200" dirty="0"/>
          </a:p>
        </p:txBody>
      </p:sp>
      <p:sp>
        <p:nvSpPr>
          <p:cNvPr id="15" name="TextColumnContent"/>
          <p:cNvSpPr>
            <a:spLocks noChangeArrowheads="1"/>
          </p:cNvSpPr>
          <p:nvPr/>
        </p:nvSpPr>
        <p:spPr bwMode="gray">
          <a:xfrm>
            <a:off x="7723200" y="4505560"/>
            <a:ext cx="1005840" cy="602689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Generate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goods received</a:t>
            </a:r>
          </a:p>
        </p:txBody>
      </p:sp>
      <p:sp>
        <p:nvSpPr>
          <p:cNvPr id="97" name="Rectangle 96"/>
          <p:cNvSpPr/>
          <p:nvPr/>
        </p:nvSpPr>
        <p:spPr>
          <a:xfrm>
            <a:off x="7557240" y="5117052"/>
            <a:ext cx="1008000" cy="1206000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7674080" y="4280734"/>
            <a:ext cx="986455" cy="219902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8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Contract Management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79" name="NavigationIcon"/>
          <p:cNvSpPr>
            <a:spLocks noChangeAspect="1"/>
          </p:cNvSpPr>
          <p:nvPr/>
        </p:nvSpPr>
        <p:spPr bwMode="auto">
          <a:xfrm>
            <a:off x="11687191" y="132877"/>
            <a:ext cx="372466" cy="365760"/>
          </a:xfrm>
          <a:custGeom>
            <a:avLst/>
            <a:gdLst>
              <a:gd name="connsiteX0" fmla="*/ 409739 w 1146175"/>
              <a:gd name="connsiteY0" fmla="*/ 615791 h 1125538"/>
              <a:gd name="connsiteX1" fmla="*/ 326138 w 1146175"/>
              <a:gd name="connsiteY1" fmla="*/ 635801 h 1125538"/>
              <a:gd name="connsiteX2" fmla="*/ 31750 w 1146175"/>
              <a:gd name="connsiteY2" fmla="*/ 803020 h 1125538"/>
              <a:gd name="connsiteX3" fmla="*/ 31750 w 1146175"/>
              <a:gd name="connsiteY3" fmla="*/ 1087437 h 1125538"/>
              <a:gd name="connsiteX4" fmla="*/ 368296 w 1146175"/>
              <a:gd name="connsiteY4" fmla="*/ 957377 h 1125538"/>
              <a:gd name="connsiteX5" fmla="*/ 419028 w 1146175"/>
              <a:gd name="connsiteY5" fmla="*/ 949516 h 1125538"/>
              <a:gd name="connsiteX6" fmla="*/ 568366 w 1146175"/>
              <a:gd name="connsiteY6" fmla="*/ 960236 h 1125538"/>
              <a:gd name="connsiteX7" fmla="*/ 797017 w 1146175"/>
              <a:gd name="connsiteY7" fmla="*/ 933795 h 1125538"/>
              <a:gd name="connsiteX8" fmla="*/ 1047818 w 1146175"/>
              <a:gd name="connsiteY8" fmla="*/ 767290 h 1125538"/>
              <a:gd name="connsiteX9" fmla="*/ 1079972 w 1146175"/>
              <a:gd name="connsiteY9" fmla="*/ 730130 h 1125538"/>
              <a:gd name="connsiteX10" fmla="*/ 1074971 w 1146175"/>
              <a:gd name="connsiteY10" fmla="*/ 655810 h 1125538"/>
              <a:gd name="connsiteX11" fmla="*/ 1036386 w 1146175"/>
              <a:gd name="connsiteY11" fmla="*/ 642232 h 1125538"/>
              <a:gd name="connsiteX12" fmla="*/ 999230 w 1146175"/>
              <a:gd name="connsiteY12" fmla="*/ 660097 h 1125538"/>
              <a:gd name="connsiteX13" fmla="*/ 951356 w 1146175"/>
              <a:gd name="connsiteY13" fmla="*/ 713694 h 1125538"/>
              <a:gd name="connsiteX14" fmla="*/ 805591 w 1146175"/>
              <a:gd name="connsiteY14" fmla="*/ 805164 h 1125538"/>
              <a:gd name="connsiteX15" fmla="*/ 608380 w 1146175"/>
              <a:gd name="connsiteY15" fmla="*/ 794445 h 1125538"/>
              <a:gd name="connsiteX16" fmla="*/ 553360 w 1146175"/>
              <a:gd name="connsiteY16" fmla="*/ 772292 h 1125538"/>
              <a:gd name="connsiteX17" fmla="*/ 544071 w 1146175"/>
              <a:gd name="connsiteY17" fmla="*/ 755856 h 1125538"/>
              <a:gd name="connsiteX18" fmla="*/ 557648 w 1146175"/>
              <a:gd name="connsiteY18" fmla="*/ 742278 h 1125538"/>
              <a:gd name="connsiteX19" fmla="*/ 715560 w 1146175"/>
              <a:gd name="connsiteY19" fmla="*/ 726557 h 1125538"/>
              <a:gd name="connsiteX20" fmla="*/ 759146 w 1146175"/>
              <a:gd name="connsiteY20" fmla="*/ 679392 h 1125538"/>
              <a:gd name="connsiteX21" fmla="*/ 713416 w 1146175"/>
              <a:gd name="connsiteY21" fmla="*/ 631513 h 1125538"/>
              <a:gd name="connsiteX22" fmla="*/ 409739 w 1146175"/>
              <a:gd name="connsiteY22" fmla="*/ 615791 h 1125538"/>
              <a:gd name="connsiteX23" fmla="*/ 390213 w 1146175"/>
              <a:gd name="connsiteY23" fmla="*/ 584200 h 1125538"/>
              <a:gd name="connsiteX24" fmla="*/ 393786 w 1146175"/>
              <a:gd name="connsiteY24" fmla="*/ 584200 h 1125538"/>
              <a:gd name="connsiteX25" fmla="*/ 396645 w 1146175"/>
              <a:gd name="connsiteY25" fmla="*/ 584200 h 1125538"/>
              <a:gd name="connsiteX26" fmla="*/ 399504 w 1146175"/>
              <a:gd name="connsiteY26" fmla="*/ 584200 h 1125538"/>
              <a:gd name="connsiteX27" fmla="*/ 403077 w 1146175"/>
              <a:gd name="connsiteY27" fmla="*/ 584200 h 1125538"/>
              <a:gd name="connsiteX28" fmla="*/ 410939 w 1146175"/>
              <a:gd name="connsiteY28" fmla="*/ 584200 h 1125538"/>
              <a:gd name="connsiteX29" fmla="*/ 715390 w 1146175"/>
              <a:gd name="connsiteY29" fmla="*/ 599912 h 1125538"/>
              <a:gd name="connsiteX30" fmla="*/ 780426 w 1146175"/>
              <a:gd name="connsiteY30" fmla="*/ 640619 h 1125538"/>
              <a:gd name="connsiteX31" fmla="*/ 782570 w 1146175"/>
              <a:gd name="connsiteY31" fmla="*/ 644904 h 1125538"/>
              <a:gd name="connsiteX32" fmla="*/ 789002 w 1146175"/>
              <a:gd name="connsiteY32" fmla="*/ 663473 h 1125538"/>
              <a:gd name="connsiteX33" fmla="*/ 790431 w 1146175"/>
              <a:gd name="connsiteY33" fmla="*/ 679184 h 1125538"/>
              <a:gd name="connsiteX34" fmla="*/ 789716 w 1146175"/>
              <a:gd name="connsiteY34" fmla="*/ 684898 h 1125538"/>
              <a:gd name="connsiteX35" fmla="*/ 789716 w 1146175"/>
              <a:gd name="connsiteY35" fmla="*/ 685612 h 1125538"/>
              <a:gd name="connsiteX36" fmla="*/ 789002 w 1146175"/>
              <a:gd name="connsiteY36" fmla="*/ 691325 h 1125538"/>
              <a:gd name="connsiteX37" fmla="*/ 763988 w 1146175"/>
              <a:gd name="connsiteY37" fmla="*/ 738460 h 1125538"/>
              <a:gd name="connsiteX38" fmla="*/ 763273 w 1146175"/>
              <a:gd name="connsiteY38" fmla="*/ 738460 h 1125538"/>
              <a:gd name="connsiteX39" fmla="*/ 758985 w 1146175"/>
              <a:gd name="connsiteY39" fmla="*/ 742031 h 1125538"/>
              <a:gd name="connsiteX40" fmla="*/ 754697 w 1146175"/>
              <a:gd name="connsiteY40" fmla="*/ 744888 h 1125538"/>
              <a:gd name="connsiteX41" fmla="*/ 753983 w 1146175"/>
              <a:gd name="connsiteY41" fmla="*/ 745602 h 1125538"/>
              <a:gd name="connsiteX42" fmla="*/ 749695 w 1146175"/>
              <a:gd name="connsiteY42" fmla="*/ 748458 h 1125538"/>
              <a:gd name="connsiteX43" fmla="*/ 748265 w 1146175"/>
              <a:gd name="connsiteY43" fmla="*/ 749173 h 1125538"/>
              <a:gd name="connsiteX44" fmla="*/ 743263 w 1146175"/>
              <a:gd name="connsiteY44" fmla="*/ 751315 h 1125538"/>
              <a:gd name="connsiteX45" fmla="*/ 742548 w 1146175"/>
              <a:gd name="connsiteY45" fmla="*/ 752029 h 1125538"/>
              <a:gd name="connsiteX46" fmla="*/ 738260 w 1146175"/>
              <a:gd name="connsiteY46" fmla="*/ 753458 h 1125538"/>
              <a:gd name="connsiteX47" fmla="*/ 718964 w 1146175"/>
              <a:gd name="connsiteY47" fmla="*/ 757743 h 1125538"/>
              <a:gd name="connsiteX48" fmla="*/ 624626 w 1146175"/>
              <a:gd name="connsiteY48" fmla="*/ 767027 h 1125538"/>
              <a:gd name="connsiteX49" fmla="*/ 743263 w 1146175"/>
              <a:gd name="connsiteY49" fmla="*/ 784167 h 1125538"/>
              <a:gd name="connsiteX50" fmla="*/ 775423 w 1146175"/>
              <a:gd name="connsiteY50" fmla="*/ 779882 h 1125538"/>
              <a:gd name="connsiteX51" fmla="*/ 785428 w 1146175"/>
              <a:gd name="connsiteY51" fmla="*/ 777739 h 1125538"/>
              <a:gd name="connsiteX52" fmla="*/ 786858 w 1146175"/>
              <a:gd name="connsiteY52" fmla="*/ 777025 h 1125538"/>
              <a:gd name="connsiteX53" fmla="*/ 796863 w 1146175"/>
              <a:gd name="connsiteY53" fmla="*/ 774883 h 1125538"/>
              <a:gd name="connsiteX54" fmla="*/ 826880 w 1146175"/>
              <a:gd name="connsiteY54" fmla="*/ 764170 h 1125538"/>
              <a:gd name="connsiteX55" fmla="*/ 909782 w 1146175"/>
              <a:gd name="connsiteY55" fmla="*/ 711322 h 1125538"/>
              <a:gd name="connsiteX56" fmla="*/ 928363 w 1146175"/>
              <a:gd name="connsiteY56" fmla="*/ 692753 h 1125538"/>
              <a:gd name="connsiteX57" fmla="*/ 975532 w 1146175"/>
              <a:gd name="connsiteY57" fmla="*/ 639191 h 1125538"/>
              <a:gd name="connsiteX58" fmla="*/ 978391 w 1146175"/>
              <a:gd name="connsiteY58" fmla="*/ 635620 h 1125538"/>
              <a:gd name="connsiteX59" fmla="*/ 979105 w 1146175"/>
              <a:gd name="connsiteY59" fmla="*/ 635620 h 1125538"/>
              <a:gd name="connsiteX60" fmla="*/ 1034135 w 1146175"/>
              <a:gd name="connsiteY60" fmla="*/ 610624 h 1125538"/>
              <a:gd name="connsiteX61" fmla="*/ 1034850 w 1146175"/>
              <a:gd name="connsiteY61" fmla="*/ 610624 h 1125538"/>
              <a:gd name="connsiteX62" fmla="*/ 1039138 w 1146175"/>
              <a:gd name="connsiteY62" fmla="*/ 610624 h 1125538"/>
              <a:gd name="connsiteX63" fmla="*/ 1040567 w 1146175"/>
              <a:gd name="connsiteY63" fmla="*/ 610624 h 1125538"/>
              <a:gd name="connsiteX64" fmla="*/ 1079875 w 1146175"/>
              <a:gd name="connsiteY64" fmla="*/ 621337 h 1125538"/>
              <a:gd name="connsiteX65" fmla="*/ 1083448 w 1146175"/>
              <a:gd name="connsiteY65" fmla="*/ 623479 h 1125538"/>
              <a:gd name="connsiteX66" fmla="*/ 1086307 w 1146175"/>
              <a:gd name="connsiteY66" fmla="*/ 624908 h 1125538"/>
              <a:gd name="connsiteX67" fmla="*/ 1087021 w 1146175"/>
              <a:gd name="connsiteY67" fmla="*/ 625622 h 1125538"/>
              <a:gd name="connsiteX68" fmla="*/ 1089880 w 1146175"/>
              <a:gd name="connsiteY68" fmla="*/ 627764 h 1125538"/>
              <a:gd name="connsiteX69" fmla="*/ 1090595 w 1146175"/>
              <a:gd name="connsiteY69" fmla="*/ 628478 h 1125538"/>
              <a:gd name="connsiteX70" fmla="*/ 1092739 w 1146175"/>
              <a:gd name="connsiteY70" fmla="*/ 629907 h 1125538"/>
              <a:gd name="connsiteX71" fmla="*/ 1095597 w 1146175"/>
              <a:gd name="connsiteY71" fmla="*/ 632049 h 1125538"/>
              <a:gd name="connsiteX72" fmla="*/ 1095597 w 1146175"/>
              <a:gd name="connsiteY72" fmla="*/ 632763 h 1125538"/>
              <a:gd name="connsiteX73" fmla="*/ 1103459 w 1146175"/>
              <a:gd name="connsiteY73" fmla="*/ 749887 h 1125538"/>
              <a:gd name="connsiteX74" fmla="*/ 1072013 w 1146175"/>
              <a:gd name="connsiteY74" fmla="*/ 787738 h 1125538"/>
              <a:gd name="connsiteX75" fmla="*/ 966241 w 1146175"/>
              <a:gd name="connsiteY75" fmla="*/ 884150 h 1125538"/>
              <a:gd name="connsiteX76" fmla="*/ 956950 w 1146175"/>
              <a:gd name="connsiteY76" fmla="*/ 890577 h 1125538"/>
              <a:gd name="connsiteX77" fmla="*/ 948374 w 1146175"/>
              <a:gd name="connsiteY77" fmla="*/ 896291 h 1125538"/>
              <a:gd name="connsiteX78" fmla="*/ 806154 w 1146175"/>
              <a:gd name="connsiteY78" fmla="*/ 963422 h 1125538"/>
              <a:gd name="connsiteX79" fmla="*/ 792575 w 1146175"/>
              <a:gd name="connsiteY79" fmla="*/ 967707 h 1125538"/>
              <a:gd name="connsiteX80" fmla="*/ 788287 w 1146175"/>
              <a:gd name="connsiteY80" fmla="*/ 968422 h 1125538"/>
              <a:gd name="connsiteX81" fmla="*/ 779711 w 1146175"/>
              <a:gd name="connsiteY81" fmla="*/ 971278 h 1125538"/>
              <a:gd name="connsiteX82" fmla="*/ 773994 w 1146175"/>
              <a:gd name="connsiteY82" fmla="*/ 972707 h 1125538"/>
              <a:gd name="connsiteX83" fmla="*/ 766132 w 1146175"/>
              <a:gd name="connsiteY83" fmla="*/ 974135 h 1125538"/>
              <a:gd name="connsiteX84" fmla="*/ 759700 w 1146175"/>
              <a:gd name="connsiteY84" fmla="*/ 976277 h 1125538"/>
              <a:gd name="connsiteX85" fmla="*/ 753983 w 1146175"/>
              <a:gd name="connsiteY85" fmla="*/ 976992 h 1125538"/>
              <a:gd name="connsiteX86" fmla="*/ 724681 w 1146175"/>
              <a:gd name="connsiteY86" fmla="*/ 983419 h 1125538"/>
              <a:gd name="connsiteX87" fmla="*/ 721822 w 1146175"/>
              <a:gd name="connsiteY87" fmla="*/ 983419 h 1125538"/>
              <a:gd name="connsiteX88" fmla="*/ 711102 w 1146175"/>
              <a:gd name="connsiteY88" fmla="*/ 985562 h 1125538"/>
              <a:gd name="connsiteX89" fmla="*/ 709673 w 1146175"/>
              <a:gd name="connsiteY89" fmla="*/ 985562 h 1125538"/>
              <a:gd name="connsiteX90" fmla="*/ 650355 w 1146175"/>
              <a:gd name="connsiteY90" fmla="*/ 991989 h 1125538"/>
              <a:gd name="connsiteX91" fmla="*/ 648211 w 1146175"/>
              <a:gd name="connsiteY91" fmla="*/ 991989 h 1125538"/>
              <a:gd name="connsiteX92" fmla="*/ 637491 w 1146175"/>
              <a:gd name="connsiteY92" fmla="*/ 992703 h 1125538"/>
              <a:gd name="connsiteX93" fmla="*/ 635347 w 1146175"/>
              <a:gd name="connsiteY93" fmla="*/ 992703 h 1125538"/>
              <a:gd name="connsiteX94" fmla="*/ 621053 w 1146175"/>
              <a:gd name="connsiteY94" fmla="*/ 992703 h 1125538"/>
              <a:gd name="connsiteX95" fmla="*/ 620338 w 1146175"/>
              <a:gd name="connsiteY95" fmla="*/ 992703 h 1125538"/>
              <a:gd name="connsiteX96" fmla="*/ 612477 w 1146175"/>
              <a:gd name="connsiteY96" fmla="*/ 992703 h 1125538"/>
              <a:gd name="connsiteX97" fmla="*/ 606045 w 1146175"/>
              <a:gd name="connsiteY97" fmla="*/ 992703 h 1125538"/>
              <a:gd name="connsiteX98" fmla="*/ 598898 w 1146175"/>
              <a:gd name="connsiteY98" fmla="*/ 992703 h 1125538"/>
              <a:gd name="connsiteX99" fmla="*/ 592466 w 1146175"/>
              <a:gd name="connsiteY99" fmla="*/ 992703 h 1125538"/>
              <a:gd name="connsiteX100" fmla="*/ 584605 w 1146175"/>
              <a:gd name="connsiteY100" fmla="*/ 991989 h 1125538"/>
              <a:gd name="connsiteX101" fmla="*/ 578887 w 1146175"/>
              <a:gd name="connsiteY101" fmla="*/ 991989 h 1125538"/>
              <a:gd name="connsiteX102" fmla="*/ 566738 w 1146175"/>
              <a:gd name="connsiteY102" fmla="*/ 991275 h 1125538"/>
              <a:gd name="connsiteX103" fmla="*/ 566023 w 1146175"/>
              <a:gd name="connsiteY103" fmla="*/ 991275 h 1125538"/>
              <a:gd name="connsiteX104" fmla="*/ 485265 w 1146175"/>
              <a:gd name="connsiteY104" fmla="*/ 985562 h 1125538"/>
              <a:gd name="connsiteX105" fmla="*/ 416656 w 1146175"/>
              <a:gd name="connsiteY105" fmla="*/ 980562 h 1125538"/>
              <a:gd name="connsiteX106" fmla="*/ 410939 w 1146175"/>
              <a:gd name="connsiteY106" fmla="*/ 980562 h 1125538"/>
              <a:gd name="connsiteX107" fmla="*/ 407365 w 1146175"/>
              <a:gd name="connsiteY107" fmla="*/ 980562 h 1125538"/>
              <a:gd name="connsiteX108" fmla="*/ 393072 w 1146175"/>
              <a:gd name="connsiteY108" fmla="*/ 981991 h 1125538"/>
              <a:gd name="connsiteX109" fmla="*/ 388784 w 1146175"/>
              <a:gd name="connsiteY109" fmla="*/ 982705 h 1125538"/>
              <a:gd name="connsiteX110" fmla="*/ 388784 w 1146175"/>
              <a:gd name="connsiteY110" fmla="*/ 983419 h 1125538"/>
              <a:gd name="connsiteX111" fmla="*/ 384496 w 1146175"/>
              <a:gd name="connsiteY111" fmla="*/ 984133 h 1125538"/>
              <a:gd name="connsiteX112" fmla="*/ 383781 w 1146175"/>
              <a:gd name="connsiteY112" fmla="*/ 984847 h 1125538"/>
              <a:gd name="connsiteX113" fmla="*/ 379493 w 1146175"/>
              <a:gd name="connsiteY113" fmla="*/ 986276 h 1125538"/>
              <a:gd name="connsiteX114" fmla="*/ 21441 w 1146175"/>
              <a:gd name="connsiteY114" fmla="*/ 1124824 h 1125538"/>
              <a:gd name="connsiteX115" fmla="*/ 15723 w 1146175"/>
              <a:gd name="connsiteY115" fmla="*/ 1125538 h 1125538"/>
              <a:gd name="connsiteX116" fmla="*/ 7147 w 1146175"/>
              <a:gd name="connsiteY116" fmla="*/ 1122681 h 1125538"/>
              <a:gd name="connsiteX117" fmla="*/ 0 w 1146175"/>
              <a:gd name="connsiteY117" fmla="*/ 1109826 h 1125538"/>
              <a:gd name="connsiteX118" fmla="*/ 0 w 1146175"/>
              <a:gd name="connsiteY118" fmla="*/ 793451 h 1125538"/>
              <a:gd name="connsiteX119" fmla="*/ 7862 w 1146175"/>
              <a:gd name="connsiteY119" fmla="*/ 779882 h 1125538"/>
              <a:gd name="connsiteX120" fmla="*/ 310169 w 1146175"/>
              <a:gd name="connsiteY120" fmla="*/ 608482 h 1125538"/>
              <a:gd name="connsiteX121" fmla="*/ 315887 w 1146175"/>
              <a:gd name="connsiteY121" fmla="*/ 605625 h 1125538"/>
              <a:gd name="connsiteX122" fmla="*/ 318031 w 1146175"/>
              <a:gd name="connsiteY122" fmla="*/ 604197 h 1125538"/>
              <a:gd name="connsiteX123" fmla="*/ 320889 w 1146175"/>
              <a:gd name="connsiteY123" fmla="*/ 602768 h 1125538"/>
              <a:gd name="connsiteX124" fmla="*/ 324463 w 1146175"/>
              <a:gd name="connsiteY124" fmla="*/ 601340 h 1125538"/>
              <a:gd name="connsiteX125" fmla="*/ 326607 w 1146175"/>
              <a:gd name="connsiteY125" fmla="*/ 599912 h 1125538"/>
              <a:gd name="connsiteX126" fmla="*/ 330180 w 1146175"/>
              <a:gd name="connsiteY126" fmla="*/ 598483 h 1125538"/>
              <a:gd name="connsiteX127" fmla="*/ 332324 w 1146175"/>
              <a:gd name="connsiteY127" fmla="*/ 597769 h 1125538"/>
              <a:gd name="connsiteX128" fmla="*/ 336612 w 1146175"/>
              <a:gd name="connsiteY128" fmla="*/ 596341 h 1125538"/>
              <a:gd name="connsiteX129" fmla="*/ 338042 w 1146175"/>
              <a:gd name="connsiteY129" fmla="*/ 595627 h 1125538"/>
              <a:gd name="connsiteX130" fmla="*/ 342330 w 1146175"/>
              <a:gd name="connsiteY130" fmla="*/ 594198 h 1125538"/>
              <a:gd name="connsiteX131" fmla="*/ 343044 w 1146175"/>
              <a:gd name="connsiteY131" fmla="*/ 593484 h 1125538"/>
              <a:gd name="connsiteX132" fmla="*/ 348047 w 1146175"/>
              <a:gd name="connsiteY132" fmla="*/ 592056 h 1125538"/>
              <a:gd name="connsiteX133" fmla="*/ 348762 w 1146175"/>
              <a:gd name="connsiteY133" fmla="*/ 592056 h 1125538"/>
              <a:gd name="connsiteX134" fmla="*/ 382352 w 1146175"/>
              <a:gd name="connsiteY134" fmla="*/ 584914 h 1125538"/>
              <a:gd name="connsiteX135" fmla="*/ 383781 w 1146175"/>
              <a:gd name="connsiteY135" fmla="*/ 584914 h 1125538"/>
              <a:gd name="connsiteX136" fmla="*/ 387354 w 1146175"/>
              <a:gd name="connsiteY136" fmla="*/ 584914 h 1125538"/>
              <a:gd name="connsiteX137" fmla="*/ 390213 w 1146175"/>
              <a:gd name="connsiteY137" fmla="*/ 584200 h 1125538"/>
              <a:gd name="connsiteX138" fmla="*/ 654433 w 1146175"/>
              <a:gd name="connsiteY138" fmla="*/ 103187 h 1125538"/>
              <a:gd name="connsiteX139" fmla="*/ 686457 w 1146175"/>
              <a:gd name="connsiteY139" fmla="*/ 103187 h 1125538"/>
              <a:gd name="connsiteX140" fmla="*/ 686457 w 1146175"/>
              <a:gd name="connsiteY140" fmla="*/ 126776 h 1125538"/>
              <a:gd name="connsiteX141" fmla="*/ 724174 w 1146175"/>
              <a:gd name="connsiteY141" fmla="*/ 139643 h 1125538"/>
              <a:gd name="connsiteX142" fmla="*/ 714211 w 1146175"/>
              <a:gd name="connsiteY142" fmla="*/ 169665 h 1125538"/>
              <a:gd name="connsiteX143" fmla="*/ 672936 w 1146175"/>
              <a:gd name="connsiteY143" fmla="*/ 156083 h 1125538"/>
              <a:gd name="connsiteX144" fmla="*/ 653722 w 1146175"/>
              <a:gd name="connsiteY144" fmla="*/ 162517 h 1125538"/>
              <a:gd name="connsiteX145" fmla="*/ 646605 w 1146175"/>
              <a:gd name="connsiteY145" fmla="*/ 179672 h 1125538"/>
              <a:gd name="connsiteX146" fmla="*/ 685034 w 1146175"/>
              <a:gd name="connsiteY146" fmla="*/ 215413 h 1125538"/>
              <a:gd name="connsiteX147" fmla="*/ 715634 w 1146175"/>
              <a:gd name="connsiteY147" fmla="*/ 233998 h 1125538"/>
              <a:gd name="connsiteX148" fmla="*/ 729155 w 1146175"/>
              <a:gd name="connsiteY148" fmla="*/ 253298 h 1125538"/>
              <a:gd name="connsiteX149" fmla="*/ 733425 w 1146175"/>
              <a:gd name="connsiteY149" fmla="*/ 278317 h 1125538"/>
              <a:gd name="connsiteX150" fmla="*/ 721327 w 1146175"/>
              <a:gd name="connsiteY150" fmla="*/ 311198 h 1125538"/>
              <a:gd name="connsiteX151" fmla="*/ 686457 w 1146175"/>
              <a:gd name="connsiteY151" fmla="*/ 331213 h 1125538"/>
              <a:gd name="connsiteX152" fmla="*/ 686457 w 1146175"/>
              <a:gd name="connsiteY152" fmla="*/ 361950 h 1125538"/>
              <a:gd name="connsiteX153" fmla="*/ 654433 w 1146175"/>
              <a:gd name="connsiteY153" fmla="*/ 361950 h 1125538"/>
              <a:gd name="connsiteX154" fmla="*/ 654433 w 1146175"/>
              <a:gd name="connsiteY154" fmla="*/ 332643 h 1125538"/>
              <a:gd name="connsiteX155" fmla="*/ 609600 w 1146175"/>
              <a:gd name="connsiteY155" fmla="*/ 319061 h 1125538"/>
              <a:gd name="connsiteX156" fmla="*/ 623833 w 1146175"/>
              <a:gd name="connsiteY156" fmla="*/ 287609 h 1125538"/>
              <a:gd name="connsiteX157" fmla="*/ 665820 w 1146175"/>
              <a:gd name="connsiteY157" fmla="*/ 301906 h 1125538"/>
              <a:gd name="connsiteX158" fmla="*/ 697132 w 1146175"/>
              <a:gd name="connsiteY158" fmla="*/ 280461 h 1125538"/>
              <a:gd name="connsiteX159" fmla="*/ 689304 w 1146175"/>
              <a:gd name="connsiteY159" fmla="*/ 259732 h 1125538"/>
              <a:gd name="connsiteX160" fmla="*/ 658703 w 1146175"/>
              <a:gd name="connsiteY160" fmla="*/ 239002 h 1125538"/>
              <a:gd name="connsiteX161" fmla="*/ 627391 w 1146175"/>
              <a:gd name="connsiteY161" fmla="*/ 220417 h 1125538"/>
              <a:gd name="connsiteX162" fmla="*/ 613870 w 1146175"/>
              <a:gd name="connsiteY162" fmla="*/ 202546 h 1125538"/>
              <a:gd name="connsiteX163" fmla="*/ 610312 w 1146175"/>
              <a:gd name="connsiteY163" fmla="*/ 179672 h 1125538"/>
              <a:gd name="connsiteX164" fmla="*/ 623121 w 1146175"/>
              <a:gd name="connsiteY164" fmla="*/ 147506 h 1125538"/>
              <a:gd name="connsiteX165" fmla="*/ 654433 w 1146175"/>
              <a:gd name="connsiteY165" fmla="*/ 128920 h 1125538"/>
              <a:gd name="connsiteX166" fmla="*/ 654433 w 1146175"/>
              <a:gd name="connsiteY166" fmla="*/ 103187 h 1125538"/>
              <a:gd name="connsiteX167" fmla="*/ 746125 w 1146175"/>
              <a:gd name="connsiteY167" fmla="*/ 63501 h 1125538"/>
              <a:gd name="connsiteX168" fmla="*/ 1039803 w 1146175"/>
              <a:gd name="connsiteY168" fmla="*/ 63501 h 1125538"/>
              <a:gd name="connsiteX169" fmla="*/ 1082675 w 1146175"/>
              <a:gd name="connsiteY169" fmla="*/ 102635 h 1125538"/>
              <a:gd name="connsiteX170" fmla="*/ 1082675 w 1146175"/>
              <a:gd name="connsiteY170" fmla="*/ 364475 h 1125538"/>
              <a:gd name="connsiteX171" fmla="*/ 1040517 w 1146175"/>
              <a:gd name="connsiteY171" fmla="*/ 400051 h 1125538"/>
              <a:gd name="connsiteX172" fmla="*/ 748269 w 1146175"/>
              <a:gd name="connsiteY172" fmla="*/ 400051 h 1125538"/>
              <a:gd name="connsiteX173" fmla="*/ 812578 w 1146175"/>
              <a:gd name="connsiteY173" fmla="*/ 232843 h 1125538"/>
              <a:gd name="connsiteX174" fmla="*/ 746125 w 1146175"/>
              <a:gd name="connsiteY174" fmla="*/ 63501 h 1125538"/>
              <a:gd name="connsiteX175" fmla="*/ 301794 w 1146175"/>
              <a:gd name="connsiteY175" fmla="*/ 63501 h 1125538"/>
              <a:gd name="connsiteX176" fmla="*/ 596900 w 1146175"/>
              <a:gd name="connsiteY176" fmla="*/ 63501 h 1125538"/>
              <a:gd name="connsiteX177" fmla="*/ 529733 w 1146175"/>
              <a:gd name="connsiteY177" fmla="*/ 232843 h 1125538"/>
              <a:gd name="connsiteX178" fmla="*/ 594757 w 1146175"/>
              <a:gd name="connsiteY178" fmla="*/ 400051 h 1125538"/>
              <a:gd name="connsiteX179" fmla="*/ 301079 w 1146175"/>
              <a:gd name="connsiteY179" fmla="*/ 400051 h 1125538"/>
              <a:gd name="connsiteX180" fmla="*/ 260350 w 1146175"/>
              <a:gd name="connsiteY180" fmla="*/ 365187 h 1125538"/>
              <a:gd name="connsiteX181" fmla="*/ 260350 w 1146175"/>
              <a:gd name="connsiteY181" fmla="*/ 102635 h 1125538"/>
              <a:gd name="connsiteX182" fmla="*/ 301794 w 1146175"/>
              <a:gd name="connsiteY182" fmla="*/ 63501 h 1125538"/>
              <a:gd name="connsiteX183" fmla="*/ 228600 w 1146175"/>
              <a:gd name="connsiteY183" fmla="*/ 31750 h 1125538"/>
              <a:gd name="connsiteX184" fmla="*/ 228600 w 1146175"/>
              <a:gd name="connsiteY184" fmla="*/ 431800 h 1125538"/>
              <a:gd name="connsiteX185" fmla="*/ 1114425 w 1146175"/>
              <a:gd name="connsiteY185" fmla="*/ 431800 h 1125538"/>
              <a:gd name="connsiteX186" fmla="*/ 1114425 w 1146175"/>
              <a:gd name="connsiteY186" fmla="*/ 31750 h 1125538"/>
              <a:gd name="connsiteX187" fmla="*/ 209003 w 1146175"/>
              <a:gd name="connsiteY187" fmla="*/ 0 h 1125538"/>
              <a:gd name="connsiteX188" fmla="*/ 1134023 w 1146175"/>
              <a:gd name="connsiteY188" fmla="*/ 0 h 1125538"/>
              <a:gd name="connsiteX189" fmla="*/ 1146175 w 1146175"/>
              <a:gd name="connsiteY189" fmla="*/ 11428 h 1125538"/>
              <a:gd name="connsiteX190" fmla="*/ 1146175 w 1146175"/>
              <a:gd name="connsiteY190" fmla="*/ 451408 h 1125538"/>
              <a:gd name="connsiteX191" fmla="*/ 1134023 w 1146175"/>
              <a:gd name="connsiteY191" fmla="*/ 463550 h 1125538"/>
              <a:gd name="connsiteX192" fmla="*/ 209003 w 1146175"/>
              <a:gd name="connsiteY192" fmla="*/ 463550 h 1125538"/>
              <a:gd name="connsiteX193" fmla="*/ 196850 w 1146175"/>
              <a:gd name="connsiteY193" fmla="*/ 451408 h 1125538"/>
              <a:gd name="connsiteX194" fmla="*/ 196850 w 1146175"/>
              <a:gd name="connsiteY194" fmla="*/ 11428 h 1125538"/>
              <a:gd name="connsiteX195" fmla="*/ 209003 w 1146175"/>
              <a:gd name="connsiteY195" fmla="*/ 0 h 1125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1146175" h="1125538">
                <a:moveTo>
                  <a:pt x="409739" y="615791"/>
                </a:moveTo>
                <a:cubicBezTo>
                  <a:pt x="380443" y="614362"/>
                  <a:pt x="351147" y="621508"/>
                  <a:pt x="326138" y="635801"/>
                </a:cubicBezTo>
                <a:cubicBezTo>
                  <a:pt x="326138" y="635801"/>
                  <a:pt x="326138" y="635801"/>
                  <a:pt x="31750" y="803020"/>
                </a:cubicBezTo>
                <a:cubicBezTo>
                  <a:pt x="31750" y="803020"/>
                  <a:pt x="31750" y="803020"/>
                  <a:pt x="31750" y="1087437"/>
                </a:cubicBezTo>
                <a:cubicBezTo>
                  <a:pt x="31750" y="1087437"/>
                  <a:pt x="31750" y="1087437"/>
                  <a:pt x="368296" y="957377"/>
                </a:cubicBezTo>
                <a:cubicBezTo>
                  <a:pt x="384730" y="950946"/>
                  <a:pt x="401879" y="948087"/>
                  <a:pt x="419028" y="949516"/>
                </a:cubicBezTo>
                <a:cubicBezTo>
                  <a:pt x="419028" y="949516"/>
                  <a:pt x="419028" y="949516"/>
                  <a:pt x="568366" y="960236"/>
                </a:cubicBezTo>
                <a:cubicBezTo>
                  <a:pt x="645535" y="965953"/>
                  <a:pt x="722705" y="956663"/>
                  <a:pt x="797017" y="933795"/>
                </a:cubicBezTo>
                <a:cubicBezTo>
                  <a:pt x="894908" y="903067"/>
                  <a:pt x="981367" y="845897"/>
                  <a:pt x="1047818" y="767290"/>
                </a:cubicBezTo>
                <a:cubicBezTo>
                  <a:pt x="1047818" y="767290"/>
                  <a:pt x="1047818" y="767290"/>
                  <a:pt x="1079972" y="730130"/>
                </a:cubicBezTo>
                <a:cubicBezTo>
                  <a:pt x="1098550" y="707977"/>
                  <a:pt x="1096407" y="675104"/>
                  <a:pt x="1074971" y="655810"/>
                </a:cubicBezTo>
                <a:cubicBezTo>
                  <a:pt x="1064253" y="646520"/>
                  <a:pt x="1050676" y="641517"/>
                  <a:pt x="1036386" y="642232"/>
                </a:cubicBezTo>
                <a:cubicBezTo>
                  <a:pt x="1022095" y="642947"/>
                  <a:pt x="1008519" y="649378"/>
                  <a:pt x="999230" y="660097"/>
                </a:cubicBezTo>
                <a:cubicBezTo>
                  <a:pt x="999230" y="660097"/>
                  <a:pt x="999230" y="660097"/>
                  <a:pt x="951356" y="713694"/>
                </a:cubicBezTo>
                <a:cubicBezTo>
                  <a:pt x="912771" y="758000"/>
                  <a:pt x="862039" y="789443"/>
                  <a:pt x="805591" y="805164"/>
                </a:cubicBezTo>
                <a:cubicBezTo>
                  <a:pt x="740568" y="823744"/>
                  <a:pt x="670544" y="819457"/>
                  <a:pt x="608380" y="794445"/>
                </a:cubicBezTo>
                <a:cubicBezTo>
                  <a:pt x="608380" y="794445"/>
                  <a:pt x="608380" y="794445"/>
                  <a:pt x="553360" y="772292"/>
                </a:cubicBezTo>
                <a:cubicBezTo>
                  <a:pt x="546930" y="769434"/>
                  <a:pt x="542642" y="763002"/>
                  <a:pt x="544071" y="755856"/>
                </a:cubicBezTo>
                <a:cubicBezTo>
                  <a:pt x="544786" y="748710"/>
                  <a:pt x="550502" y="742993"/>
                  <a:pt x="557648" y="742278"/>
                </a:cubicBezTo>
                <a:cubicBezTo>
                  <a:pt x="557648" y="742278"/>
                  <a:pt x="557648" y="742278"/>
                  <a:pt x="715560" y="726557"/>
                </a:cubicBezTo>
                <a:cubicBezTo>
                  <a:pt x="740568" y="724413"/>
                  <a:pt x="759146" y="703689"/>
                  <a:pt x="759146" y="679392"/>
                </a:cubicBezTo>
                <a:cubicBezTo>
                  <a:pt x="759146" y="653666"/>
                  <a:pt x="739139" y="632942"/>
                  <a:pt x="713416" y="631513"/>
                </a:cubicBezTo>
                <a:cubicBezTo>
                  <a:pt x="713416" y="631513"/>
                  <a:pt x="713416" y="631513"/>
                  <a:pt x="409739" y="615791"/>
                </a:cubicBezTo>
                <a:close/>
                <a:moveTo>
                  <a:pt x="390213" y="584200"/>
                </a:moveTo>
                <a:cubicBezTo>
                  <a:pt x="391642" y="584200"/>
                  <a:pt x="392357" y="584200"/>
                  <a:pt x="393786" y="584200"/>
                </a:cubicBezTo>
                <a:cubicBezTo>
                  <a:pt x="394501" y="584200"/>
                  <a:pt x="395930" y="584200"/>
                  <a:pt x="396645" y="584200"/>
                </a:cubicBezTo>
                <a:cubicBezTo>
                  <a:pt x="398074" y="584200"/>
                  <a:pt x="398789" y="584200"/>
                  <a:pt x="399504" y="584200"/>
                </a:cubicBezTo>
                <a:cubicBezTo>
                  <a:pt x="400933" y="584200"/>
                  <a:pt x="401648" y="584200"/>
                  <a:pt x="403077" y="584200"/>
                </a:cubicBezTo>
                <a:cubicBezTo>
                  <a:pt x="405221" y="584200"/>
                  <a:pt x="408080" y="584200"/>
                  <a:pt x="410939" y="584200"/>
                </a:cubicBezTo>
                <a:cubicBezTo>
                  <a:pt x="410939" y="584200"/>
                  <a:pt x="410939" y="584200"/>
                  <a:pt x="715390" y="599912"/>
                </a:cubicBezTo>
                <a:cubicBezTo>
                  <a:pt x="743263" y="601340"/>
                  <a:pt x="766847" y="617766"/>
                  <a:pt x="780426" y="640619"/>
                </a:cubicBezTo>
                <a:cubicBezTo>
                  <a:pt x="781140" y="642048"/>
                  <a:pt x="781855" y="643476"/>
                  <a:pt x="782570" y="644904"/>
                </a:cubicBezTo>
                <a:cubicBezTo>
                  <a:pt x="785428" y="650618"/>
                  <a:pt x="787572" y="657045"/>
                  <a:pt x="789002" y="663473"/>
                </a:cubicBezTo>
                <a:cubicBezTo>
                  <a:pt x="789716" y="668472"/>
                  <a:pt x="790431" y="673471"/>
                  <a:pt x="790431" y="679184"/>
                </a:cubicBezTo>
                <a:cubicBezTo>
                  <a:pt x="790431" y="681327"/>
                  <a:pt x="790431" y="682755"/>
                  <a:pt x="789716" y="684898"/>
                </a:cubicBezTo>
                <a:cubicBezTo>
                  <a:pt x="789716" y="684898"/>
                  <a:pt x="789716" y="685612"/>
                  <a:pt x="789716" y="685612"/>
                </a:cubicBezTo>
                <a:cubicBezTo>
                  <a:pt x="789716" y="687754"/>
                  <a:pt x="789716" y="689183"/>
                  <a:pt x="789002" y="691325"/>
                </a:cubicBezTo>
                <a:cubicBezTo>
                  <a:pt x="786143" y="709893"/>
                  <a:pt x="776852" y="726319"/>
                  <a:pt x="763988" y="738460"/>
                </a:cubicBezTo>
                <a:cubicBezTo>
                  <a:pt x="763988" y="738460"/>
                  <a:pt x="763273" y="738460"/>
                  <a:pt x="763273" y="738460"/>
                </a:cubicBezTo>
                <a:cubicBezTo>
                  <a:pt x="761844" y="739888"/>
                  <a:pt x="760415" y="740603"/>
                  <a:pt x="758985" y="742031"/>
                </a:cubicBezTo>
                <a:cubicBezTo>
                  <a:pt x="757556" y="743459"/>
                  <a:pt x="756127" y="744173"/>
                  <a:pt x="754697" y="744888"/>
                </a:cubicBezTo>
                <a:cubicBezTo>
                  <a:pt x="753983" y="745602"/>
                  <a:pt x="753983" y="745602"/>
                  <a:pt x="753983" y="745602"/>
                </a:cubicBezTo>
                <a:cubicBezTo>
                  <a:pt x="752553" y="746316"/>
                  <a:pt x="751124" y="747744"/>
                  <a:pt x="749695" y="748458"/>
                </a:cubicBezTo>
                <a:cubicBezTo>
                  <a:pt x="748980" y="748458"/>
                  <a:pt x="748265" y="748458"/>
                  <a:pt x="748265" y="749173"/>
                </a:cubicBezTo>
                <a:cubicBezTo>
                  <a:pt x="746836" y="749887"/>
                  <a:pt x="745407" y="750601"/>
                  <a:pt x="743263" y="751315"/>
                </a:cubicBezTo>
                <a:cubicBezTo>
                  <a:pt x="743263" y="751315"/>
                  <a:pt x="742548" y="751315"/>
                  <a:pt x="742548" y="752029"/>
                </a:cubicBezTo>
                <a:cubicBezTo>
                  <a:pt x="741118" y="752029"/>
                  <a:pt x="739689" y="752743"/>
                  <a:pt x="738260" y="753458"/>
                </a:cubicBezTo>
                <a:cubicBezTo>
                  <a:pt x="731828" y="755600"/>
                  <a:pt x="725396" y="757028"/>
                  <a:pt x="718964" y="757743"/>
                </a:cubicBezTo>
                <a:cubicBezTo>
                  <a:pt x="718964" y="757743"/>
                  <a:pt x="718964" y="757743"/>
                  <a:pt x="624626" y="767027"/>
                </a:cubicBezTo>
                <a:cubicBezTo>
                  <a:pt x="662504" y="781310"/>
                  <a:pt x="703241" y="787023"/>
                  <a:pt x="743263" y="784167"/>
                </a:cubicBezTo>
                <a:cubicBezTo>
                  <a:pt x="753983" y="783453"/>
                  <a:pt x="764703" y="782024"/>
                  <a:pt x="775423" y="779882"/>
                </a:cubicBezTo>
                <a:cubicBezTo>
                  <a:pt x="778996" y="779168"/>
                  <a:pt x="781855" y="778453"/>
                  <a:pt x="785428" y="777739"/>
                </a:cubicBezTo>
                <a:cubicBezTo>
                  <a:pt x="786143" y="777739"/>
                  <a:pt x="786143" y="777739"/>
                  <a:pt x="786858" y="777025"/>
                </a:cubicBezTo>
                <a:cubicBezTo>
                  <a:pt x="790431" y="776311"/>
                  <a:pt x="793290" y="775597"/>
                  <a:pt x="796863" y="774883"/>
                </a:cubicBezTo>
                <a:cubicBezTo>
                  <a:pt x="806869" y="772026"/>
                  <a:pt x="816874" y="768455"/>
                  <a:pt x="826880" y="764170"/>
                </a:cubicBezTo>
                <a:cubicBezTo>
                  <a:pt x="857611" y="752029"/>
                  <a:pt x="885483" y="734175"/>
                  <a:pt x="909782" y="711322"/>
                </a:cubicBezTo>
                <a:cubicBezTo>
                  <a:pt x="916214" y="705608"/>
                  <a:pt x="921931" y="699181"/>
                  <a:pt x="928363" y="692753"/>
                </a:cubicBezTo>
                <a:cubicBezTo>
                  <a:pt x="928363" y="692753"/>
                  <a:pt x="928363" y="692753"/>
                  <a:pt x="975532" y="639191"/>
                </a:cubicBezTo>
                <a:cubicBezTo>
                  <a:pt x="976961" y="637763"/>
                  <a:pt x="977676" y="637048"/>
                  <a:pt x="978391" y="635620"/>
                </a:cubicBezTo>
                <a:cubicBezTo>
                  <a:pt x="979105" y="635620"/>
                  <a:pt x="979105" y="635620"/>
                  <a:pt x="979105" y="635620"/>
                </a:cubicBezTo>
                <a:cubicBezTo>
                  <a:pt x="994114" y="620623"/>
                  <a:pt x="1013410" y="612053"/>
                  <a:pt x="1034135" y="610624"/>
                </a:cubicBezTo>
                <a:cubicBezTo>
                  <a:pt x="1034850" y="610624"/>
                  <a:pt x="1034850" y="610624"/>
                  <a:pt x="1034850" y="610624"/>
                </a:cubicBezTo>
                <a:cubicBezTo>
                  <a:pt x="1036279" y="610624"/>
                  <a:pt x="1037709" y="610624"/>
                  <a:pt x="1039138" y="610624"/>
                </a:cubicBezTo>
                <a:cubicBezTo>
                  <a:pt x="1039138" y="610624"/>
                  <a:pt x="1039853" y="610624"/>
                  <a:pt x="1040567" y="610624"/>
                </a:cubicBezTo>
                <a:cubicBezTo>
                  <a:pt x="1054146" y="610624"/>
                  <a:pt x="1067725" y="614909"/>
                  <a:pt x="1079875" y="621337"/>
                </a:cubicBezTo>
                <a:cubicBezTo>
                  <a:pt x="1081304" y="622051"/>
                  <a:pt x="1082019" y="622765"/>
                  <a:pt x="1083448" y="623479"/>
                </a:cubicBezTo>
                <a:cubicBezTo>
                  <a:pt x="1084877" y="624193"/>
                  <a:pt x="1085592" y="624908"/>
                  <a:pt x="1086307" y="624908"/>
                </a:cubicBezTo>
                <a:cubicBezTo>
                  <a:pt x="1087021" y="625622"/>
                  <a:pt x="1087021" y="625622"/>
                  <a:pt x="1087021" y="625622"/>
                </a:cubicBezTo>
                <a:cubicBezTo>
                  <a:pt x="1087736" y="626336"/>
                  <a:pt x="1089165" y="627050"/>
                  <a:pt x="1089880" y="627764"/>
                </a:cubicBezTo>
                <a:cubicBezTo>
                  <a:pt x="1089880" y="627764"/>
                  <a:pt x="1090595" y="628478"/>
                  <a:pt x="1090595" y="628478"/>
                </a:cubicBezTo>
                <a:cubicBezTo>
                  <a:pt x="1091309" y="629193"/>
                  <a:pt x="1092024" y="629193"/>
                  <a:pt x="1092739" y="629907"/>
                </a:cubicBezTo>
                <a:cubicBezTo>
                  <a:pt x="1093453" y="630621"/>
                  <a:pt x="1094168" y="631335"/>
                  <a:pt x="1095597" y="632049"/>
                </a:cubicBezTo>
                <a:cubicBezTo>
                  <a:pt x="1095597" y="632049"/>
                  <a:pt x="1095597" y="632763"/>
                  <a:pt x="1095597" y="632763"/>
                </a:cubicBezTo>
                <a:cubicBezTo>
                  <a:pt x="1129902" y="663473"/>
                  <a:pt x="1133475" y="714893"/>
                  <a:pt x="1103459" y="749887"/>
                </a:cubicBezTo>
                <a:cubicBezTo>
                  <a:pt x="1103459" y="749887"/>
                  <a:pt x="1103459" y="749887"/>
                  <a:pt x="1072013" y="787738"/>
                </a:cubicBezTo>
                <a:cubicBezTo>
                  <a:pt x="1040567" y="824160"/>
                  <a:pt x="1004834" y="857012"/>
                  <a:pt x="966241" y="884150"/>
                </a:cubicBezTo>
                <a:cubicBezTo>
                  <a:pt x="963383" y="886292"/>
                  <a:pt x="959809" y="888435"/>
                  <a:pt x="956950" y="890577"/>
                </a:cubicBezTo>
                <a:cubicBezTo>
                  <a:pt x="954092" y="892720"/>
                  <a:pt x="951233" y="894862"/>
                  <a:pt x="948374" y="896291"/>
                </a:cubicBezTo>
                <a:cubicBezTo>
                  <a:pt x="904779" y="924857"/>
                  <a:pt x="856896" y="947711"/>
                  <a:pt x="806154" y="963422"/>
                </a:cubicBezTo>
                <a:cubicBezTo>
                  <a:pt x="801866" y="964851"/>
                  <a:pt x="797578" y="966279"/>
                  <a:pt x="792575" y="967707"/>
                </a:cubicBezTo>
                <a:cubicBezTo>
                  <a:pt x="791146" y="967707"/>
                  <a:pt x="789716" y="968422"/>
                  <a:pt x="788287" y="968422"/>
                </a:cubicBezTo>
                <a:cubicBezTo>
                  <a:pt x="785428" y="969136"/>
                  <a:pt x="782570" y="970564"/>
                  <a:pt x="779711" y="971278"/>
                </a:cubicBezTo>
                <a:cubicBezTo>
                  <a:pt x="777567" y="971278"/>
                  <a:pt x="775423" y="971992"/>
                  <a:pt x="773994" y="972707"/>
                </a:cubicBezTo>
                <a:cubicBezTo>
                  <a:pt x="771135" y="973421"/>
                  <a:pt x="768991" y="973421"/>
                  <a:pt x="766132" y="974135"/>
                </a:cubicBezTo>
                <a:cubicBezTo>
                  <a:pt x="763988" y="974849"/>
                  <a:pt x="761844" y="975563"/>
                  <a:pt x="759700" y="976277"/>
                </a:cubicBezTo>
                <a:cubicBezTo>
                  <a:pt x="757556" y="976277"/>
                  <a:pt x="756127" y="976992"/>
                  <a:pt x="753983" y="976992"/>
                </a:cubicBezTo>
                <a:cubicBezTo>
                  <a:pt x="743977" y="979134"/>
                  <a:pt x="733972" y="981277"/>
                  <a:pt x="724681" y="983419"/>
                </a:cubicBezTo>
                <a:cubicBezTo>
                  <a:pt x="723252" y="983419"/>
                  <a:pt x="722537" y="983419"/>
                  <a:pt x="721822" y="983419"/>
                </a:cubicBezTo>
                <a:cubicBezTo>
                  <a:pt x="718249" y="984133"/>
                  <a:pt x="714676" y="984847"/>
                  <a:pt x="711102" y="985562"/>
                </a:cubicBezTo>
                <a:cubicBezTo>
                  <a:pt x="710387" y="985562"/>
                  <a:pt x="710387" y="985562"/>
                  <a:pt x="709673" y="985562"/>
                </a:cubicBezTo>
                <a:cubicBezTo>
                  <a:pt x="689662" y="988418"/>
                  <a:pt x="670366" y="990561"/>
                  <a:pt x="650355" y="991989"/>
                </a:cubicBezTo>
                <a:cubicBezTo>
                  <a:pt x="649640" y="991989"/>
                  <a:pt x="648925" y="991989"/>
                  <a:pt x="648211" y="991989"/>
                </a:cubicBezTo>
                <a:cubicBezTo>
                  <a:pt x="644637" y="991989"/>
                  <a:pt x="641064" y="991989"/>
                  <a:pt x="637491" y="992703"/>
                </a:cubicBezTo>
                <a:cubicBezTo>
                  <a:pt x="636776" y="992703"/>
                  <a:pt x="636061" y="992703"/>
                  <a:pt x="635347" y="992703"/>
                </a:cubicBezTo>
                <a:cubicBezTo>
                  <a:pt x="630344" y="992703"/>
                  <a:pt x="626056" y="992703"/>
                  <a:pt x="621053" y="992703"/>
                </a:cubicBezTo>
                <a:cubicBezTo>
                  <a:pt x="621053" y="992703"/>
                  <a:pt x="620338" y="992703"/>
                  <a:pt x="620338" y="992703"/>
                </a:cubicBezTo>
                <a:cubicBezTo>
                  <a:pt x="617480" y="992703"/>
                  <a:pt x="614621" y="992703"/>
                  <a:pt x="612477" y="992703"/>
                </a:cubicBezTo>
                <a:cubicBezTo>
                  <a:pt x="610333" y="992703"/>
                  <a:pt x="608189" y="992703"/>
                  <a:pt x="606045" y="992703"/>
                </a:cubicBezTo>
                <a:cubicBezTo>
                  <a:pt x="603901" y="992703"/>
                  <a:pt x="601042" y="992703"/>
                  <a:pt x="598898" y="992703"/>
                </a:cubicBezTo>
                <a:cubicBezTo>
                  <a:pt x="596754" y="992703"/>
                  <a:pt x="594610" y="992703"/>
                  <a:pt x="592466" y="992703"/>
                </a:cubicBezTo>
                <a:cubicBezTo>
                  <a:pt x="589607" y="992703"/>
                  <a:pt x="587463" y="992703"/>
                  <a:pt x="584605" y="991989"/>
                </a:cubicBezTo>
                <a:cubicBezTo>
                  <a:pt x="582461" y="991989"/>
                  <a:pt x="581031" y="991989"/>
                  <a:pt x="578887" y="991989"/>
                </a:cubicBezTo>
                <a:cubicBezTo>
                  <a:pt x="575314" y="991989"/>
                  <a:pt x="571026" y="991275"/>
                  <a:pt x="566738" y="991275"/>
                </a:cubicBezTo>
                <a:cubicBezTo>
                  <a:pt x="566738" y="991275"/>
                  <a:pt x="566023" y="991275"/>
                  <a:pt x="566023" y="991275"/>
                </a:cubicBezTo>
                <a:cubicBezTo>
                  <a:pt x="566023" y="991275"/>
                  <a:pt x="566023" y="991275"/>
                  <a:pt x="485265" y="985562"/>
                </a:cubicBezTo>
                <a:cubicBezTo>
                  <a:pt x="485265" y="985562"/>
                  <a:pt x="485265" y="985562"/>
                  <a:pt x="416656" y="980562"/>
                </a:cubicBezTo>
                <a:cubicBezTo>
                  <a:pt x="415227" y="980562"/>
                  <a:pt x="413083" y="980562"/>
                  <a:pt x="410939" y="980562"/>
                </a:cubicBezTo>
                <a:cubicBezTo>
                  <a:pt x="410224" y="980562"/>
                  <a:pt x="408794" y="980562"/>
                  <a:pt x="407365" y="980562"/>
                </a:cubicBezTo>
                <a:cubicBezTo>
                  <a:pt x="402362" y="980562"/>
                  <a:pt x="398074" y="981277"/>
                  <a:pt x="393072" y="981991"/>
                </a:cubicBezTo>
                <a:cubicBezTo>
                  <a:pt x="391642" y="982705"/>
                  <a:pt x="390213" y="982705"/>
                  <a:pt x="388784" y="982705"/>
                </a:cubicBezTo>
                <a:cubicBezTo>
                  <a:pt x="388784" y="983419"/>
                  <a:pt x="388784" y="983419"/>
                  <a:pt x="388784" y="983419"/>
                </a:cubicBezTo>
                <a:cubicBezTo>
                  <a:pt x="387354" y="983419"/>
                  <a:pt x="385925" y="984133"/>
                  <a:pt x="384496" y="984133"/>
                </a:cubicBezTo>
                <a:cubicBezTo>
                  <a:pt x="384496" y="984133"/>
                  <a:pt x="384496" y="984133"/>
                  <a:pt x="383781" y="984847"/>
                </a:cubicBezTo>
                <a:cubicBezTo>
                  <a:pt x="382352" y="984847"/>
                  <a:pt x="380922" y="985562"/>
                  <a:pt x="379493" y="986276"/>
                </a:cubicBezTo>
                <a:cubicBezTo>
                  <a:pt x="379493" y="986276"/>
                  <a:pt x="379493" y="986276"/>
                  <a:pt x="21441" y="1124824"/>
                </a:cubicBezTo>
                <a:cubicBezTo>
                  <a:pt x="20011" y="1125538"/>
                  <a:pt x="17867" y="1125538"/>
                  <a:pt x="15723" y="1125538"/>
                </a:cubicBezTo>
                <a:cubicBezTo>
                  <a:pt x="12864" y="1125538"/>
                  <a:pt x="10006" y="1124824"/>
                  <a:pt x="7147" y="1122681"/>
                </a:cubicBezTo>
                <a:cubicBezTo>
                  <a:pt x="2859" y="1119825"/>
                  <a:pt x="0" y="1114826"/>
                  <a:pt x="0" y="1109826"/>
                </a:cubicBezTo>
                <a:cubicBezTo>
                  <a:pt x="0" y="1109826"/>
                  <a:pt x="0" y="1109826"/>
                  <a:pt x="0" y="793451"/>
                </a:cubicBezTo>
                <a:cubicBezTo>
                  <a:pt x="0" y="787738"/>
                  <a:pt x="3574" y="782738"/>
                  <a:pt x="7862" y="779882"/>
                </a:cubicBezTo>
                <a:cubicBezTo>
                  <a:pt x="7862" y="779882"/>
                  <a:pt x="7862" y="779882"/>
                  <a:pt x="310169" y="608482"/>
                </a:cubicBezTo>
                <a:cubicBezTo>
                  <a:pt x="311599" y="607053"/>
                  <a:pt x="313743" y="606339"/>
                  <a:pt x="315887" y="605625"/>
                </a:cubicBezTo>
                <a:cubicBezTo>
                  <a:pt x="316601" y="604911"/>
                  <a:pt x="317316" y="604911"/>
                  <a:pt x="318031" y="604197"/>
                </a:cubicBezTo>
                <a:cubicBezTo>
                  <a:pt x="318745" y="603483"/>
                  <a:pt x="320175" y="602768"/>
                  <a:pt x="320889" y="602768"/>
                </a:cubicBezTo>
                <a:cubicBezTo>
                  <a:pt x="322319" y="602054"/>
                  <a:pt x="323033" y="601340"/>
                  <a:pt x="324463" y="601340"/>
                </a:cubicBezTo>
                <a:cubicBezTo>
                  <a:pt x="325177" y="600626"/>
                  <a:pt x="325892" y="600626"/>
                  <a:pt x="326607" y="599912"/>
                </a:cubicBezTo>
                <a:cubicBezTo>
                  <a:pt x="328036" y="599198"/>
                  <a:pt x="329466" y="599198"/>
                  <a:pt x="330180" y="598483"/>
                </a:cubicBezTo>
                <a:cubicBezTo>
                  <a:pt x="330895" y="598483"/>
                  <a:pt x="331610" y="597769"/>
                  <a:pt x="332324" y="597769"/>
                </a:cubicBezTo>
                <a:cubicBezTo>
                  <a:pt x="333754" y="597055"/>
                  <a:pt x="335183" y="596341"/>
                  <a:pt x="336612" y="596341"/>
                </a:cubicBezTo>
                <a:cubicBezTo>
                  <a:pt x="336612" y="595627"/>
                  <a:pt x="337327" y="595627"/>
                  <a:pt x="338042" y="595627"/>
                </a:cubicBezTo>
                <a:cubicBezTo>
                  <a:pt x="339471" y="594913"/>
                  <a:pt x="340900" y="594198"/>
                  <a:pt x="342330" y="594198"/>
                </a:cubicBezTo>
                <a:cubicBezTo>
                  <a:pt x="343044" y="593484"/>
                  <a:pt x="343044" y="593484"/>
                  <a:pt x="343044" y="593484"/>
                </a:cubicBezTo>
                <a:cubicBezTo>
                  <a:pt x="345188" y="592770"/>
                  <a:pt x="346618" y="592770"/>
                  <a:pt x="348047" y="592056"/>
                </a:cubicBezTo>
                <a:cubicBezTo>
                  <a:pt x="348762" y="592056"/>
                  <a:pt x="348762" y="592056"/>
                  <a:pt x="348762" y="592056"/>
                </a:cubicBezTo>
                <a:cubicBezTo>
                  <a:pt x="360197" y="588485"/>
                  <a:pt x="370917" y="586343"/>
                  <a:pt x="382352" y="584914"/>
                </a:cubicBezTo>
                <a:cubicBezTo>
                  <a:pt x="383066" y="584914"/>
                  <a:pt x="383781" y="584914"/>
                  <a:pt x="383781" y="584914"/>
                </a:cubicBezTo>
                <a:cubicBezTo>
                  <a:pt x="385210" y="584914"/>
                  <a:pt x="386640" y="584914"/>
                  <a:pt x="387354" y="584914"/>
                </a:cubicBezTo>
                <a:cubicBezTo>
                  <a:pt x="388784" y="584914"/>
                  <a:pt x="389498" y="584914"/>
                  <a:pt x="390213" y="584200"/>
                </a:cubicBezTo>
                <a:close/>
                <a:moveTo>
                  <a:pt x="654433" y="103187"/>
                </a:moveTo>
                <a:cubicBezTo>
                  <a:pt x="686457" y="103187"/>
                  <a:pt x="686457" y="103187"/>
                  <a:pt x="686457" y="103187"/>
                </a:cubicBezTo>
                <a:cubicBezTo>
                  <a:pt x="686457" y="126776"/>
                  <a:pt x="686457" y="126776"/>
                  <a:pt x="686457" y="126776"/>
                </a:cubicBezTo>
                <a:cubicBezTo>
                  <a:pt x="702825" y="128920"/>
                  <a:pt x="716346" y="132495"/>
                  <a:pt x="724174" y="139643"/>
                </a:cubicBezTo>
                <a:cubicBezTo>
                  <a:pt x="714211" y="169665"/>
                  <a:pt x="714211" y="169665"/>
                  <a:pt x="714211" y="169665"/>
                </a:cubicBezTo>
                <a:cubicBezTo>
                  <a:pt x="700690" y="161087"/>
                  <a:pt x="687169" y="156083"/>
                  <a:pt x="672936" y="156083"/>
                </a:cubicBezTo>
                <a:cubicBezTo>
                  <a:pt x="665108" y="156083"/>
                  <a:pt x="658703" y="158228"/>
                  <a:pt x="653722" y="162517"/>
                </a:cubicBezTo>
                <a:cubicBezTo>
                  <a:pt x="648740" y="167520"/>
                  <a:pt x="646605" y="172524"/>
                  <a:pt x="646605" y="179672"/>
                </a:cubicBezTo>
                <a:cubicBezTo>
                  <a:pt x="646605" y="191109"/>
                  <a:pt x="659415" y="203261"/>
                  <a:pt x="685034" y="215413"/>
                </a:cubicBezTo>
                <a:cubicBezTo>
                  <a:pt x="698555" y="222561"/>
                  <a:pt x="709230" y="228280"/>
                  <a:pt x="715634" y="233998"/>
                </a:cubicBezTo>
                <a:cubicBezTo>
                  <a:pt x="722039" y="239717"/>
                  <a:pt x="725597" y="246150"/>
                  <a:pt x="729155" y="253298"/>
                </a:cubicBezTo>
                <a:cubicBezTo>
                  <a:pt x="732002" y="261161"/>
                  <a:pt x="733425" y="269024"/>
                  <a:pt x="733425" y="278317"/>
                </a:cubicBezTo>
                <a:cubicBezTo>
                  <a:pt x="733425" y="290469"/>
                  <a:pt x="729867" y="301906"/>
                  <a:pt x="721327" y="311198"/>
                </a:cubicBezTo>
                <a:cubicBezTo>
                  <a:pt x="712788" y="320491"/>
                  <a:pt x="700690" y="327639"/>
                  <a:pt x="686457" y="331213"/>
                </a:cubicBezTo>
                <a:cubicBezTo>
                  <a:pt x="686457" y="361950"/>
                  <a:pt x="686457" y="361950"/>
                  <a:pt x="686457" y="361950"/>
                </a:cubicBezTo>
                <a:cubicBezTo>
                  <a:pt x="654433" y="361950"/>
                  <a:pt x="654433" y="361950"/>
                  <a:pt x="654433" y="361950"/>
                </a:cubicBezTo>
                <a:cubicBezTo>
                  <a:pt x="654433" y="332643"/>
                  <a:pt x="654433" y="332643"/>
                  <a:pt x="654433" y="332643"/>
                </a:cubicBezTo>
                <a:cubicBezTo>
                  <a:pt x="638777" y="332643"/>
                  <a:pt x="623833" y="327639"/>
                  <a:pt x="609600" y="319061"/>
                </a:cubicBezTo>
                <a:cubicBezTo>
                  <a:pt x="623833" y="287609"/>
                  <a:pt x="623833" y="287609"/>
                  <a:pt x="623833" y="287609"/>
                </a:cubicBezTo>
                <a:cubicBezTo>
                  <a:pt x="638066" y="296902"/>
                  <a:pt x="652299" y="301906"/>
                  <a:pt x="665820" y="301906"/>
                </a:cubicBezTo>
                <a:cubicBezTo>
                  <a:pt x="687169" y="301906"/>
                  <a:pt x="697132" y="294758"/>
                  <a:pt x="697132" y="280461"/>
                </a:cubicBezTo>
                <a:cubicBezTo>
                  <a:pt x="697132" y="273313"/>
                  <a:pt x="694997" y="266165"/>
                  <a:pt x="689304" y="259732"/>
                </a:cubicBezTo>
                <a:cubicBezTo>
                  <a:pt x="683611" y="254013"/>
                  <a:pt x="673648" y="246865"/>
                  <a:pt x="658703" y="239002"/>
                </a:cubicBezTo>
                <a:cubicBezTo>
                  <a:pt x="643047" y="231854"/>
                  <a:pt x="633084" y="225420"/>
                  <a:pt x="627391" y="220417"/>
                </a:cubicBezTo>
                <a:cubicBezTo>
                  <a:pt x="621698" y="215413"/>
                  <a:pt x="618140" y="209695"/>
                  <a:pt x="613870" y="202546"/>
                </a:cubicBezTo>
                <a:cubicBezTo>
                  <a:pt x="611735" y="195398"/>
                  <a:pt x="610312" y="188250"/>
                  <a:pt x="610312" y="179672"/>
                </a:cubicBezTo>
                <a:cubicBezTo>
                  <a:pt x="610312" y="167520"/>
                  <a:pt x="613870" y="156083"/>
                  <a:pt x="623121" y="147506"/>
                </a:cubicBezTo>
                <a:cubicBezTo>
                  <a:pt x="630949" y="138213"/>
                  <a:pt x="640912" y="131780"/>
                  <a:pt x="654433" y="128920"/>
                </a:cubicBezTo>
                <a:cubicBezTo>
                  <a:pt x="654433" y="103187"/>
                  <a:pt x="654433" y="103187"/>
                  <a:pt x="654433" y="103187"/>
                </a:cubicBezTo>
                <a:close/>
                <a:moveTo>
                  <a:pt x="746125" y="63501"/>
                </a:moveTo>
                <a:cubicBezTo>
                  <a:pt x="746125" y="63501"/>
                  <a:pt x="746125" y="63501"/>
                  <a:pt x="1039803" y="63501"/>
                </a:cubicBezTo>
                <a:cubicBezTo>
                  <a:pt x="1042661" y="84847"/>
                  <a:pt x="1060524" y="101923"/>
                  <a:pt x="1082675" y="102635"/>
                </a:cubicBezTo>
                <a:cubicBezTo>
                  <a:pt x="1082675" y="102635"/>
                  <a:pt x="1082675" y="102635"/>
                  <a:pt x="1082675" y="364475"/>
                </a:cubicBezTo>
                <a:cubicBezTo>
                  <a:pt x="1061953" y="365187"/>
                  <a:pt x="1044804" y="380129"/>
                  <a:pt x="1040517" y="400051"/>
                </a:cubicBezTo>
                <a:cubicBezTo>
                  <a:pt x="1040517" y="400051"/>
                  <a:pt x="1040517" y="400051"/>
                  <a:pt x="748269" y="400051"/>
                </a:cubicBezTo>
                <a:cubicBezTo>
                  <a:pt x="783282" y="362340"/>
                  <a:pt x="812578" y="301150"/>
                  <a:pt x="812578" y="232843"/>
                </a:cubicBezTo>
                <a:cubicBezTo>
                  <a:pt x="812578" y="163114"/>
                  <a:pt x="782567" y="101212"/>
                  <a:pt x="746125" y="63501"/>
                </a:cubicBezTo>
                <a:close/>
                <a:moveTo>
                  <a:pt x="301794" y="63501"/>
                </a:moveTo>
                <a:lnTo>
                  <a:pt x="596900" y="63501"/>
                </a:lnTo>
                <a:cubicBezTo>
                  <a:pt x="560459" y="101212"/>
                  <a:pt x="529733" y="163114"/>
                  <a:pt x="529733" y="232843"/>
                </a:cubicBezTo>
                <a:cubicBezTo>
                  <a:pt x="529733" y="301150"/>
                  <a:pt x="559744" y="362340"/>
                  <a:pt x="594757" y="400051"/>
                </a:cubicBezTo>
                <a:cubicBezTo>
                  <a:pt x="594757" y="400051"/>
                  <a:pt x="594757" y="400051"/>
                  <a:pt x="301079" y="400051"/>
                </a:cubicBezTo>
                <a:cubicBezTo>
                  <a:pt x="297507" y="380840"/>
                  <a:pt x="280357" y="366610"/>
                  <a:pt x="260350" y="365187"/>
                </a:cubicBezTo>
                <a:cubicBezTo>
                  <a:pt x="260350" y="365187"/>
                  <a:pt x="260350" y="365187"/>
                  <a:pt x="260350" y="102635"/>
                </a:cubicBezTo>
                <a:cubicBezTo>
                  <a:pt x="281787" y="101212"/>
                  <a:pt x="298936" y="84135"/>
                  <a:pt x="301794" y="63501"/>
                </a:cubicBezTo>
                <a:close/>
                <a:moveTo>
                  <a:pt x="228600" y="31750"/>
                </a:moveTo>
                <a:lnTo>
                  <a:pt x="228600" y="431800"/>
                </a:lnTo>
                <a:lnTo>
                  <a:pt x="1114425" y="431800"/>
                </a:lnTo>
                <a:lnTo>
                  <a:pt x="1114425" y="31750"/>
                </a:lnTo>
                <a:close/>
                <a:moveTo>
                  <a:pt x="209003" y="0"/>
                </a:moveTo>
                <a:cubicBezTo>
                  <a:pt x="1134023" y="0"/>
                  <a:pt x="1134023" y="0"/>
                  <a:pt x="1134023" y="0"/>
                </a:cubicBezTo>
                <a:cubicBezTo>
                  <a:pt x="1141171" y="0"/>
                  <a:pt x="1146175" y="5000"/>
                  <a:pt x="1146175" y="11428"/>
                </a:cubicBezTo>
                <a:cubicBezTo>
                  <a:pt x="1146175" y="451408"/>
                  <a:pt x="1146175" y="451408"/>
                  <a:pt x="1146175" y="451408"/>
                </a:cubicBezTo>
                <a:cubicBezTo>
                  <a:pt x="1146175" y="457836"/>
                  <a:pt x="1141171" y="463550"/>
                  <a:pt x="1134023" y="463550"/>
                </a:cubicBezTo>
                <a:cubicBezTo>
                  <a:pt x="209003" y="463550"/>
                  <a:pt x="209003" y="463550"/>
                  <a:pt x="209003" y="463550"/>
                </a:cubicBezTo>
                <a:cubicBezTo>
                  <a:pt x="202569" y="463550"/>
                  <a:pt x="196850" y="457836"/>
                  <a:pt x="196850" y="451408"/>
                </a:cubicBezTo>
                <a:cubicBezTo>
                  <a:pt x="196850" y="11428"/>
                  <a:pt x="196850" y="11428"/>
                  <a:pt x="196850" y="11428"/>
                </a:cubicBezTo>
                <a:cubicBezTo>
                  <a:pt x="196850" y="5000"/>
                  <a:pt x="202569" y="0"/>
                  <a:pt x="209003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4436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" name="Object 22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81" name="think-cell Slide" r:id="rId7" imgW="536" imgH="535" progId="TCLayout.ActiveDocument.1">
                  <p:embed/>
                </p:oleObj>
              </mc:Choice>
              <mc:Fallback>
                <p:oleObj name="think-cell Slide" r:id="rId7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664797"/>
          </a:xfrm>
        </p:spPr>
        <p:txBody>
          <a:bodyPr/>
          <a:lstStyle/>
          <a:p>
            <a:r>
              <a:rPr lang="en-US" sz="2400" dirty="0"/>
              <a:t>Mgmt. tasks will be split be between the Project Service Officer, in charge of strategic view, and the contract administrator, in charge of admin. tasks</a:t>
            </a:r>
          </a:p>
        </p:txBody>
      </p:sp>
      <p:sp>
        <p:nvSpPr>
          <p:cNvPr id="56" name="ee4pFootnotes"/>
          <p:cNvSpPr>
            <a:spLocks noChangeArrowheads="1"/>
          </p:cNvSpPr>
          <p:nvPr/>
        </p:nvSpPr>
        <p:spPr bwMode="auto">
          <a:xfrm>
            <a:off x="629998" y="6657246"/>
            <a:ext cx="841875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160964" y="1884719"/>
            <a:ext cx="3477961" cy="19720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rgbClr val="38468F"/>
                </a:solidFill>
              </a:rPr>
              <a:t>Role</a:t>
            </a:r>
          </a:p>
        </p:txBody>
      </p:sp>
      <p:sp>
        <p:nvSpPr>
          <p:cNvPr id="60" name="ee4pContent2"/>
          <p:cNvSpPr txBox="1"/>
          <p:nvPr/>
        </p:nvSpPr>
        <p:spPr>
          <a:xfrm>
            <a:off x="3160964" y="2173421"/>
            <a:ext cx="3720165" cy="73866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Consolidate requirements to develop operating plan from technical authority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Align operating plan with category priority and </a:t>
            </a:r>
            <a:r>
              <a:rPr lang="en-US" sz="1200" dirty="0" err="1">
                <a:solidFill>
                  <a:srgbClr val="7F7F7F">
                    <a:lumMod val="100000"/>
                  </a:srgbClr>
                </a:solidFill>
              </a:rPr>
              <a:t>SCM</a:t>
            </a: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 resourc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111264" y="2173420"/>
            <a:ext cx="1490900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Sourcing planning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2881564" y="2173421"/>
            <a:ext cx="0" cy="738664"/>
          </a:xfrm>
          <a:prstGeom prst="line">
            <a:avLst/>
          </a:prstGeom>
          <a:ln w="3175">
            <a:solidFill>
              <a:srgbClr val="7F7F7F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0"/>
          <p:cNvGrpSpPr>
            <a:grpSpLocks noChangeAspect="1"/>
          </p:cNvGrpSpPr>
          <p:nvPr/>
        </p:nvGrpSpPr>
        <p:grpSpPr>
          <a:xfrm>
            <a:off x="2182166" y="2328563"/>
            <a:ext cx="502548" cy="502063"/>
            <a:chOff x="5273675" y="2606675"/>
            <a:chExt cx="1646238" cy="1644650"/>
          </a:xfrm>
        </p:grpSpPr>
        <p:sp>
          <p:nvSpPr>
            <p:cNvPr id="7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3" name="Group 72"/>
            <p:cNvGrpSpPr/>
            <p:nvPr/>
          </p:nvGrpSpPr>
          <p:grpSpPr>
            <a:xfrm>
              <a:off x="5519738" y="2911475"/>
              <a:ext cx="1154113" cy="963613"/>
              <a:chOff x="5519738" y="2911475"/>
              <a:chExt cx="1154113" cy="963613"/>
            </a:xfrm>
          </p:grpSpPr>
          <p:sp>
            <p:nvSpPr>
              <p:cNvPr id="74" name="Freeform 73"/>
              <p:cNvSpPr>
                <a:spLocks/>
              </p:cNvSpPr>
              <p:nvPr/>
            </p:nvSpPr>
            <p:spPr bwMode="auto">
              <a:xfrm>
                <a:off x="5605462" y="3319463"/>
                <a:ext cx="982662" cy="474662"/>
              </a:xfrm>
              <a:custGeom>
                <a:avLst/>
                <a:gdLst>
                  <a:gd name="connsiteX0" fmla="*/ 770723 w 982662"/>
                  <a:gd name="connsiteY0" fmla="*/ 255587 h 474662"/>
                  <a:gd name="connsiteX1" fmla="*/ 975526 w 982662"/>
                  <a:gd name="connsiteY1" fmla="*/ 255587 h 474662"/>
                  <a:gd name="connsiteX2" fmla="*/ 982662 w 982662"/>
                  <a:gd name="connsiteY2" fmla="*/ 262723 h 474662"/>
                  <a:gd name="connsiteX3" fmla="*/ 982662 w 982662"/>
                  <a:gd name="connsiteY3" fmla="*/ 467526 h 474662"/>
                  <a:gd name="connsiteX4" fmla="*/ 975526 w 982662"/>
                  <a:gd name="connsiteY4" fmla="*/ 474662 h 474662"/>
                  <a:gd name="connsiteX5" fmla="*/ 770723 w 982662"/>
                  <a:gd name="connsiteY5" fmla="*/ 474662 h 474662"/>
                  <a:gd name="connsiteX6" fmla="*/ 763587 w 982662"/>
                  <a:gd name="connsiteY6" fmla="*/ 467526 h 474662"/>
                  <a:gd name="connsiteX7" fmla="*/ 763587 w 982662"/>
                  <a:gd name="connsiteY7" fmla="*/ 262723 h 474662"/>
                  <a:gd name="connsiteX8" fmla="*/ 770723 w 982662"/>
                  <a:gd name="connsiteY8" fmla="*/ 255587 h 474662"/>
                  <a:gd name="connsiteX9" fmla="*/ 516723 w 982662"/>
                  <a:gd name="connsiteY9" fmla="*/ 255587 h 474662"/>
                  <a:gd name="connsiteX10" fmla="*/ 721526 w 982662"/>
                  <a:gd name="connsiteY10" fmla="*/ 255587 h 474662"/>
                  <a:gd name="connsiteX11" fmla="*/ 728662 w 982662"/>
                  <a:gd name="connsiteY11" fmla="*/ 262723 h 474662"/>
                  <a:gd name="connsiteX12" fmla="*/ 728662 w 982662"/>
                  <a:gd name="connsiteY12" fmla="*/ 467526 h 474662"/>
                  <a:gd name="connsiteX13" fmla="*/ 721526 w 982662"/>
                  <a:gd name="connsiteY13" fmla="*/ 474662 h 474662"/>
                  <a:gd name="connsiteX14" fmla="*/ 516723 w 982662"/>
                  <a:gd name="connsiteY14" fmla="*/ 474662 h 474662"/>
                  <a:gd name="connsiteX15" fmla="*/ 509587 w 982662"/>
                  <a:gd name="connsiteY15" fmla="*/ 467526 h 474662"/>
                  <a:gd name="connsiteX16" fmla="*/ 509587 w 982662"/>
                  <a:gd name="connsiteY16" fmla="*/ 262723 h 474662"/>
                  <a:gd name="connsiteX17" fmla="*/ 516723 w 982662"/>
                  <a:gd name="connsiteY17" fmla="*/ 255587 h 474662"/>
                  <a:gd name="connsiteX18" fmla="*/ 261136 w 982662"/>
                  <a:gd name="connsiteY18" fmla="*/ 255587 h 474662"/>
                  <a:gd name="connsiteX19" fmla="*/ 465939 w 982662"/>
                  <a:gd name="connsiteY19" fmla="*/ 255587 h 474662"/>
                  <a:gd name="connsiteX20" fmla="*/ 473075 w 982662"/>
                  <a:gd name="connsiteY20" fmla="*/ 262723 h 474662"/>
                  <a:gd name="connsiteX21" fmla="*/ 473075 w 982662"/>
                  <a:gd name="connsiteY21" fmla="*/ 467526 h 474662"/>
                  <a:gd name="connsiteX22" fmla="*/ 465939 w 982662"/>
                  <a:gd name="connsiteY22" fmla="*/ 474662 h 474662"/>
                  <a:gd name="connsiteX23" fmla="*/ 261136 w 982662"/>
                  <a:gd name="connsiteY23" fmla="*/ 474662 h 474662"/>
                  <a:gd name="connsiteX24" fmla="*/ 254000 w 982662"/>
                  <a:gd name="connsiteY24" fmla="*/ 467526 h 474662"/>
                  <a:gd name="connsiteX25" fmla="*/ 254000 w 982662"/>
                  <a:gd name="connsiteY25" fmla="*/ 262723 h 474662"/>
                  <a:gd name="connsiteX26" fmla="*/ 261136 w 982662"/>
                  <a:gd name="connsiteY26" fmla="*/ 255587 h 474662"/>
                  <a:gd name="connsiteX27" fmla="*/ 7136 w 982662"/>
                  <a:gd name="connsiteY27" fmla="*/ 255587 h 474662"/>
                  <a:gd name="connsiteX28" fmla="*/ 211939 w 982662"/>
                  <a:gd name="connsiteY28" fmla="*/ 255587 h 474662"/>
                  <a:gd name="connsiteX29" fmla="*/ 219075 w 982662"/>
                  <a:gd name="connsiteY29" fmla="*/ 262723 h 474662"/>
                  <a:gd name="connsiteX30" fmla="*/ 219075 w 982662"/>
                  <a:gd name="connsiteY30" fmla="*/ 467526 h 474662"/>
                  <a:gd name="connsiteX31" fmla="*/ 211939 w 982662"/>
                  <a:gd name="connsiteY31" fmla="*/ 474662 h 474662"/>
                  <a:gd name="connsiteX32" fmla="*/ 7136 w 982662"/>
                  <a:gd name="connsiteY32" fmla="*/ 474662 h 474662"/>
                  <a:gd name="connsiteX33" fmla="*/ 0 w 982662"/>
                  <a:gd name="connsiteY33" fmla="*/ 467526 h 474662"/>
                  <a:gd name="connsiteX34" fmla="*/ 0 w 982662"/>
                  <a:gd name="connsiteY34" fmla="*/ 262723 h 474662"/>
                  <a:gd name="connsiteX35" fmla="*/ 7136 w 982662"/>
                  <a:gd name="connsiteY35" fmla="*/ 255587 h 474662"/>
                  <a:gd name="connsiteX36" fmla="*/ 770723 w 982662"/>
                  <a:gd name="connsiteY36" fmla="*/ 0 h 474662"/>
                  <a:gd name="connsiteX37" fmla="*/ 975526 w 982662"/>
                  <a:gd name="connsiteY37" fmla="*/ 0 h 474662"/>
                  <a:gd name="connsiteX38" fmla="*/ 982662 w 982662"/>
                  <a:gd name="connsiteY38" fmla="*/ 7108 h 474662"/>
                  <a:gd name="connsiteX39" fmla="*/ 982662 w 982662"/>
                  <a:gd name="connsiteY39" fmla="*/ 210381 h 474662"/>
                  <a:gd name="connsiteX40" fmla="*/ 975526 w 982662"/>
                  <a:gd name="connsiteY40" fmla="*/ 217488 h 474662"/>
                  <a:gd name="connsiteX41" fmla="*/ 770723 w 982662"/>
                  <a:gd name="connsiteY41" fmla="*/ 217488 h 474662"/>
                  <a:gd name="connsiteX42" fmla="*/ 763587 w 982662"/>
                  <a:gd name="connsiteY42" fmla="*/ 210381 h 474662"/>
                  <a:gd name="connsiteX43" fmla="*/ 763587 w 982662"/>
                  <a:gd name="connsiteY43" fmla="*/ 7108 h 474662"/>
                  <a:gd name="connsiteX44" fmla="*/ 770723 w 982662"/>
                  <a:gd name="connsiteY44" fmla="*/ 0 h 474662"/>
                  <a:gd name="connsiteX45" fmla="*/ 516723 w 982662"/>
                  <a:gd name="connsiteY45" fmla="*/ 0 h 474662"/>
                  <a:gd name="connsiteX46" fmla="*/ 721526 w 982662"/>
                  <a:gd name="connsiteY46" fmla="*/ 0 h 474662"/>
                  <a:gd name="connsiteX47" fmla="*/ 728662 w 982662"/>
                  <a:gd name="connsiteY47" fmla="*/ 7108 h 474662"/>
                  <a:gd name="connsiteX48" fmla="*/ 728662 w 982662"/>
                  <a:gd name="connsiteY48" fmla="*/ 210381 h 474662"/>
                  <a:gd name="connsiteX49" fmla="*/ 721526 w 982662"/>
                  <a:gd name="connsiteY49" fmla="*/ 217488 h 474662"/>
                  <a:gd name="connsiteX50" fmla="*/ 516723 w 982662"/>
                  <a:gd name="connsiteY50" fmla="*/ 217488 h 474662"/>
                  <a:gd name="connsiteX51" fmla="*/ 509587 w 982662"/>
                  <a:gd name="connsiteY51" fmla="*/ 210381 h 474662"/>
                  <a:gd name="connsiteX52" fmla="*/ 509587 w 982662"/>
                  <a:gd name="connsiteY52" fmla="*/ 7108 h 474662"/>
                  <a:gd name="connsiteX53" fmla="*/ 516723 w 982662"/>
                  <a:gd name="connsiteY53" fmla="*/ 0 h 474662"/>
                  <a:gd name="connsiteX54" fmla="*/ 261136 w 982662"/>
                  <a:gd name="connsiteY54" fmla="*/ 0 h 474662"/>
                  <a:gd name="connsiteX55" fmla="*/ 465939 w 982662"/>
                  <a:gd name="connsiteY55" fmla="*/ 0 h 474662"/>
                  <a:gd name="connsiteX56" fmla="*/ 473075 w 982662"/>
                  <a:gd name="connsiteY56" fmla="*/ 7108 h 474662"/>
                  <a:gd name="connsiteX57" fmla="*/ 473075 w 982662"/>
                  <a:gd name="connsiteY57" fmla="*/ 210381 h 474662"/>
                  <a:gd name="connsiteX58" fmla="*/ 465939 w 982662"/>
                  <a:gd name="connsiteY58" fmla="*/ 217488 h 474662"/>
                  <a:gd name="connsiteX59" fmla="*/ 261136 w 982662"/>
                  <a:gd name="connsiteY59" fmla="*/ 217488 h 474662"/>
                  <a:gd name="connsiteX60" fmla="*/ 254000 w 982662"/>
                  <a:gd name="connsiteY60" fmla="*/ 210381 h 474662"/>
                  <a:gd name="connsiteX61" fmla="*/ 254000 w 982662"/>
                  <a:gd name="connsiteY61" fmla="*/ 7108 h 474662"/>
                  <a:gd name="connsiteX62" fmla="*/ 261136 w 982662"/>
                  <a:gd name="connsiteY62" fmla="*/ 0 h 474662"/>
                  <a:gd name="connsiteX63" fmla="*/ 7136 w 982662"/>
                  <a:gd name="connsiteY63" fmla="*/ 0 h 474662"/>
                  <a:gd name="connsiteX64" fmla="*/ 211939 w 982662"/>
                  <a:gd name="connsiteY64" fmla="*/ 0 h 474662"/>
                  <a:gd name="connsiteX65" fmla="*/ 219075 w 982662"/>
                  <a:gd name="connsiteY65" fmla="*/ 7108 h 474662"/>
                  <a:gd name="connsiteX66" fmla="*/ 219075 w 982662"/>
                  <a:gd name="connsiteY66" fmla="*/ 210381 h 474662"/>
                  <a:gd name="connsiteX67" fmla="*/ 211939 w 982662"/>
                  <a:gd name="connsiteY67" fmla="*/ 217488 h 474662"/>
                  <a:gd name="connsiteX68" fmla="*/ 7136 w 982662"/>
                  <a:gd name="connsiteY68" fmla="*/ 217488 h 474662"/>
                  <a:gd name="connsiteX69" fmla="*/ 0 w 982662"/>
                  <a:gd name="connsiteY69" fmla="*/ 210381 h 474662"/>
                  <a:gd name="connsiteX70" fmla="*/ 0 w 982662"/>
                  <a:gd name="connsiteY70" fmla="*/ 7108 h 474662"/>
                  <a:gd name="connsiteX71" fmla="*/ 7136 w 982662"/>
                  <a:gd name="connsiteY71" fmla="*/ 0 h 474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982662" h="474662">
                    <a:moveTo>
                      <a:pt x="770723" y="255587"/>
                    </a:moveTo>
                    <a:cubicBezTo>
                      <a:pt x="770723" y="255587"/>
                      <a:pt x="770723" y="255587"/>
                      <a:pt x="975526" y="255587"/>
                    </a:cubicBezTo>
                    <a:cubicBezTo>
                      <a:pt x="979808" y="255587"/>
                      <a:pt x="982662" y="258442"/>
                      <a:pt x="982662" y="262723"/>
                    </a:cubicBezTo>
                    <a:cubicBezTo>
                      <a:pt x="982662" y="262723"/>
                      <a:pt x="982662" y="262723"/>
                      <a:pt x="982662" y="467526"/>
                    </a:cubicBezTo>
                    <a:cubicBezTo>
                      <a:pt x="982662" y="471094"/>
                      <a:pt x="979808" y="474662"/>
                      <a:pt x="975526" y="474662"/>
                    </a:cubicBezTo>
                    <a:cubicBezTo>
                      <a:pt x="975526" y="474662"/>
                      <a:pt x="975526" y="474662"/>
                      <a:pt x="770723" y="474662"/>
                    </a:cubicBezTo>
                    <a:cubicBezTo>
                      <a:pt x="767155" y="474662"/>
                      <a:pt x="763587" y="471094"/>
                      <a:pt x="763587" y="467526"/>
                    </a:cubicBezTo>
                    <a:cubicBezTo>
                      <a:pt x="763587" y="467526"/>
                      <a:pt x="763587" y="467526"/>
                      <a:pt x="763587" y="262723"/>
                    </a:cubicBezTo>
                    <a:cubicBezTo>
                      <a:pt x="763587" y="258442"/>
                      <a:pt x="767155" y="255587"/>
                      <a:pt x="770723" y="255587"/>
                    </a:cubicBezTo>
                    <a:close/>
                    <a:moveTo>
                      <a:pt x="516723" y="255587"/>
                    </a:moveTo>
                    <a:cubicBezTo>
                      <a:pt x="516723" y="255587"/>
                      <a:pt x="516723" y="255587"/>
                      <a:pt x="721526" y="255587"/>
                    </a:cubicBezTo>
                    <a:cubicBezTo>
                      <a:pt x="725094" y="255587"/>
                      <a:pt x="728662" y="258442"/>
                      <a:pt x="728662" y="262723"/>
                    </a:cubicBezTo>
                    <a:cubicBezTo>
                      <a:pt x="728662" y="262723"/>
                      <a:pt x="728662" y="262723"/>
                      <a:pt x="728662" y="467526"/>
                    </a:cubicBezTo>
                    <a:cubicBezTo>
                      <a:pt x="728662" y="471094"/>
                      <a:pt x="725094" y="474662"/>
                      <a:pt x="721526" y="474662"/>
                    </a:cubicBezTo>
                    <a:cubicBezTo>
                      <a:pt x="721526" y="474662"/>
                      <a:pt x="721526" y="474662"/>
                      <a:pt x="516723" y="474662"/>
                    </a:cubicBezTo>
                    <a:cubicBezTo>
                      <a:pt x="512442" y="474662"/>
                      <a:pt x="509587" y="471094"/>
                      <a:pt x="509587" y="467526"/>
                    </a:cubicBezTo>
                    <a:cubicBezTo>
                      <a:pt x="509587" y="467526"/>
                      <a:pt x="509587" y="467526"/>
                      <a:pt x="509587" y="262723"/>
                    </a:cubicBezTo>
                    <a:cubicBezTo>
                      <a:pt x="509587" y="258442"/>
                      <a:pt x="512442" y="255587"/>
                      <a:pt x="516723" y="255587"/>
                    </a:cubicBezTo>
                    <a:close/>
                    <a:moveTo>
                      <a:pt x="261136" y="255587"/>
                    </a:moveTo>
                    <a:cubicBezTo>
                      <a:pt x="261136" y="255587"/>
                      <a:pt x="261136" y="255587"/>
                      <a:pt x="465939" y="255587"/>
                    </a:cubicBezTo>
                    <a:cubicBezTo>
                      <a:pt x="470220" y="255587"/>
                      <a:pt x="473075" y="258442"/>
                      <a:pt x="473075" y="262723"/>
                    </a:cubicBezTo>
                    <a:cubicBezTo>
                      <a:pt x="473075" y="262723"/>
                      <a:pt x="473075" y="262723"/>
                      <a:pt x="473075" y="467526"/>
                    </a:cubicBezTo>
                    <a:cubicBezTo>
                      <a:pt x="473075" y="471094"/>
                      <a:pt x="470220" y="474662"/>
                      <a:pt x="465939" y="474662"/>
                    </a:cubicBezTo>
                    <a:cubicBezTo>
                      <a:pt x="465939" y="474662"/>
                      <a:pt x="465939" y="474662"/>
                      <a:pt x="261136" y="474662"/>
                    </a:cubicBezTo>
                    <a:cubicBezTo>
                      <a:pt x="257568" y="474662"/>
                      <a:pt x="254000" y="471094"/>
                      <a:pt x="254000" y="467526"/>
                    </a:cubicBezTo>
                    <a:cubicBezTo>
                      <a:pt x="254000" y="467526"/>
                      <a:pt x="254000" y="467526"/>
                      <a:pt x="254000" y="262723"/>
                    </a:cubicBezTo>
                    <a:cubicBezTo>
                      <a:pt x="254000" y="258442"/>
                      <a:pt x="257568" y="255587"/>
                      <a:pt x="261136" y="255587"/>
                    </a:cubicBezTo>
                    <a:close/>
                    <a:moveTo>
                      <a:pt x="7136" y="255587"/>
                    </a:moveTo>
                    <a:cubicBezTo>
                      <a:pt x="7136" y="255587"/>
                      <a:pt x="7136" y="255587"/>
                      <a:pt x="211939" y="255587"/>
                    </a:cubicBezTo>
                    <a:cubicBezTo>
                      <a:pt x="215507" y="255587"/>
                      <a:pt x="219075" y="258442"/>
                      <a:pt x="219075" y="262723"/>
                    </a:cubicBezTo>
                    <a:cubicBezTo>
                      <a:pt x="219075" y="262723"/>
                      <a:pt x="219075" y="262723"/>
                      <a:pt x="219075" y="467526"/>
                    </a:cubicBezTo>
                    <a:cubicBezTo>
                      <a:pt x="219075" y="471094"/>
                      <a:pt x="215507" y="474662"/>
                      <a:pt x="211939" y="474662"/>
                    </a:cubicBezTo>
                    <a:cubicBezTo>
                      <a:pt x="211939" y="474662"/>
                      <a:pt x="211939" y="474662"/>
                      <a:pt x="7136" y="474662"/>
                    </a:cubicBezTo>
                    <a:cubicBezTo>
                      <a:pt x="2854" y="474662"/>
                      <a:pt x="0" y="471094"/>
                      <a:pt x="0" y="467526"/>
                    </a:cubicBezTo>
                    <a:cubicBezTo>
                      <a:pt x="0" y="467526"/>
                      <a:pt x="0" y="467526"/>
                      <a:pt x="0" y="262723"/>
                    </a:cubicBezTo>
                    <a:cubicBezTo>
                      <a:pt x="0" y="258442"/>
                      <a:pt x="2854" y="255587"/>
                      <a:pt x="7136" y="255587"/>
                    </a:cubicBezTo>
                    <a:close/>
                    <a:moveTo>
                      <a:pt x="770723" y="0"/>
                    </a:moveTo>
                    <a:cubicBezTo>
                      <a:pt x="770723" y="0"/>
                      <a:pt x="770723" y="0"/>
                      <a:pt x="975526" y="0"/>
                    </a:cubicBezTo>
                    <a:cubicBezTo>
                      <a:pt x="979808" y="0"/>
                      <a:pt x="982662" y="2843"/>
                      <a:pt x="982662" y="7108"/>
                    </a:cubicBezTo>
                    <a:cubicBezTo>
                      <a:pt x="982662" y="7108"/>
                      <a:pt x="982662" y="7108"/>
                      <a:pt x="982662" y="210381"/>
                    </a:cubicBezTo>
                    <a:cubicBezTo>
                      <a:pt x="982662" y="214645"/>
                      <a:pt x="979808" y="217488"/>
                      <a:pt x="975526" y="217488"/>
                    </a:cubicBezTo>
                    <a:cubicBezTo>
                      <a:pt x="975526" y="217488"/>
                      <a:pt x="975526" y="217488"/>
                      <a:pt x="770723" y="217488"/>
                    </a:cubicBezTo>
                    <a:cubicBezTo>
                      <a:pt x="767155" y="217488"/>
                      <a:pt x="763587" y="214645"/>
                      <a:pt x="763587" y="210381"/>
                    </a:cubicBezTo>
                    <a:cubicBezTo>
                      <a:pt x="763587" y="210381"/>
                      <a:pt x="763587" y="210381"/>
                      <a:pt x="763587" y="7108"/>
                    </a:cubicBezTo>
                    <a:cubicBezTo>
                      <a:pt x="763587" y="2843"/>
                      <a:pt x="767155" y="0"/>
                      <a:pt x="770723" y="0"/>
                    </a:cubicBezTo>
                    <a:close/>
                    <a:moveTo>
                      <a:pt x="516723" y="0"/>
                    </a:moveTo>
                    <a:cubicBezTo>
                      <a:pt x="516723" y="0"/>
                      <a:pt x="516723" y="0"/>
                      <a:pt x="721526" y="0"/>
                    </a:cubicBezTo>
                    <a:cubicBezTo>
                      <a:pt x="725094" y="0"/>
                      <a:pt x="728662" y="2843"/>
                      <a:pt x="728662" y="7108"/>
                    </a:cubicBezTo>
                    <a:cubicBezTo>
                      <a:pt x="728662" y="7108"/>
                      <a:pt x="728662" y="7108"/>
                      <a:pt x="728662" y="210381"/>
                    </a:cubicBezTo>
                    <a:cubicBezTo>
                      <a:pt x="728662" y="214645"/>
                      <a:pt x="725094" y="217488"/>
                      <a:pt x="721526" y="217488"/>
                    </a:cubicBezTo>
                    <a:cubicBezTo>
                      <a:pt x="721526" y="217488"/>
                      <a:pt x="721526" y="217488"/>
                      <a:pt x="516723" y="217488"/>
                    </a:cubicBezTo>
                    <a:cubicBezTo>
                      <a:pt x="512442" y="217488"/>
                      <a:pt x="509587" y="214645"/>
                      <a:pt x="509587" y="210381"/>
                    </a:cubicBezTo>
                    <a:cubicBezTo>
                      <a:pt x="509587" y="210381"/>
                      <a:pt x="509587" y="210381"/>
                      <a:pt x="509587" y="7108"/>
                    </a:cubicBezTo>
                    <a:cubicBezTo>
                      <a:pt x="509587" y="2843"/>
                      <a:pt x="512442" y="0"/>
                      <a:pt x="516723" y="0"/>
                    </a:cubicBezTo>
                    <a:close/>
                    <a:moveTo>
                      <a:pt x="261136" y="0"/>
                    </a:moveTo>
                    <a:cubicBezTo>
                      <a:pt x="261136" y="0"/>
                      <a:pt x="261136" y="0"/>
                      <a:pt x="465939" y="0"/>
                    </a:cubicBezTo>
                    <a:cubicBezTo>
                      <a:pt x="470220" y="0"/>
                      <a:pt x="473075" y="2843"/>
                      <a:pt x="473075" y="7108"/>
                    </a:cubicBezTo>
                    <a:cubicBezTo>
                      <a:pt x="473075" y="7108"/>
                      <a:pt x="473075" y="7108"/>
                      <a:pt x="473075" y="210381"/>
                    </a:cubicBezTo>
                    <a:cubicBezTo>
                      <a:pt x="473075" y="214645"/>
                      <a:pt x="470220" y="217488"/>
                      <a:pt x="465939" y="217488"/>
                    </a:cubicBezTo>
                    <a:cubicBezTo>
                      <a:pt x="465939" y="217488"/>
                      <a:pt x="465939" y="217488"/>
                      <a:pt x="261136" y="217488"/>
                    </a:cubicBezTo>
                    <a:cubicBezTo>
                      <a:pt x="257568" y="217488"/>
                      <a:pt x="254000" y="214645"/>
                      <a:pt x="254000" y="210381"/>
                    </a:cubicBezTo>
                    <a:cubicBezTo>
                      <a:pt x="254000" y="210381"/>
                      <a:pt x="254000" y="210381"/>
                      <a:pt x="254000" y="7108"/>
                    </a:cubicBezTo>
                    <a:cubicBezTo>
                      <a:pt x="254000" y="2843"/>
                      <a:pt x="257568" y="0"/>
                      <a:pt x="261136" y="0"/>
                    </a:cubicBezTo>
                    <a:close/>
                    <a:moveTo>
                      <a:pt x="7136" y="0"/>
                    </a:moveTo>
                    <a:cubicBezTo>
                      <a:pt x="7136" y="0"/>
                      <a:pt x="7136" y="0"/>
                      <a:pt x="211939" y="0"/>
                    </a:cubicBezTo>
                    <a:cubicBezTo>
                      <a:pt x="215507" y="0"/>
                      <a:pt x="219075" y="2843"/>
                      <a:pt x="219075" y="7108"/>
                    </a:cubicBezTo>
                    <a:cubicBezTo>
                      <a:pt x="219075" y="7108"/>
                      <a:pt x="219075" y="7108"/>
                      <a:pt x="219075" y="210381"/>
                    </a:cubicBezTo>
                    <a:cubicBezTo>
                      <a:pt x="219075" y="214645"/>
                      <a:pt x="215507" y="217488"/>
                      <a:pt x="211939" y="217488"/>
                    </a:cubicBezTo>
                    <a:cubicBezTo>
                      <a:pt x="211939" y="217488"/>
                      <a:pt x="211939" y="217488"/>
                      <a:pt x="7136" y="217488"/>
                    </a:cubicBezTo>
                    <a:cubicBezTo>
                      <a:pt x="2854" y="217488"/>
                      <a:pt x="0" y="214645"/>
                      <a:pt x="0" y="210381"/>
                    </a:cubicBezTo>
                    <a:cubicBezTo>
                      <a:pt x="0" y="210381"/>
                      <a:pt x="0" y="210381"/>
                      <a:pt x="0" y="7108"/>
                    </a:cubicBezTo>
                    <a:cubicBezTo>
                      <a:pt x="0" y="2843"/>
                      <a:pt x="2854" y="0"/>
                      <a:pt x="7136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5519738" y="2911475"/>
                <a:ext cx="1154113" cy="963613"/>
              </a:xfrm>
              <a:custGeom>
                <a:avLst/>
                <a:gdLst>
                  <a:gd name="connsiteX0" fmla="*/ 92866 w 1154113"/>
                  <a:gd name="connsiteY0" fmla="*/ 150813 h 963613"/>
                  <a:gd name="connsiteX1" fmla="*/ 163567 w 1154113"/>
                  <a:gd name="connsiteY1" fmla="*/ 150813 h 963613"/>
                  <a:gd name="connsiteX2" fmla="*/ 163567 w 1154113"/>
                  <a:gd name="connsiteY2" fmla="*/ 211469 h 963613"/>
                  <a:gd name="connsiteX3" fmla="*/ 179278 w 1154113"/>
                  <a:gd name="connsiteY3" fmla="*/ 227168 h 963613"/>
                  <a:gd name="connsiteX4" fmla="*/ 320678 w 1154113"/>
                  <a:gd name="connsiteY4" fmla="*/ 227168 h 963613"/>
                  <a:gd name="connsiteX5" fmla="*/ 336390 w 1154113"/>
                  <a:gd name="connsiteY5" fmla="*/ 211469 h 963613"/>
                  <a:gd name="connsiteX6" fmla="*/ 336390 w 1154113"/>
                  <a:gd name="connsiteY6" fmla="*/ 150813 h 963613"/>
                  <a:gd name="connsiteX7" fmla="*/ 817723 w 1154113"/>
                  <a:gd name="connsiteY7" fmla="*/ 150813 h 963613"/>
                  <a:gd name="connsiteX8" fmla="*/ 817723 w 1154113"/>
                  <a:gd name="connsiteY8" fmla="*/ 211469 h 963613"/>
                  <a:gd name="connsiteX9" fmla="*/ 833434 w 1154113"/>
                  <a:gd name="connsiteY9" fmla="*/ 227168 h 963613"/>
                  <a:gd name="connsiteX10" fmla="*/ 974835 w 1154113"/>
                  <a:gd name="connsiteY10" fmla="*/ 227168 h 963613"/>
                  <a:gd name="connsiteX11" fmla="*/ 990546 w 1154113"/>
                  <a:gd name="connsiteY11" fmla="*/ 211469 h 963613"/>
                  <a:gd name="connsiteX12" fmla="*/ 990546 w 1154113"/>
                  <a:gd name="connsiteY12" fmla="*/ 150813 h 963613"/>
                  <a:gd name="connsiteX13" fmla="*/ 1061247 w 1154113"/>
                  <a:gd name="connsiteY13" fmla="*/ 150813 h 963613"/>
                  <a:gd name="connsiteX14" fmla="*/ 1068388 w 1154113"/>
                  <a:gd name="connsiteY14" fmla="*/ 157949 h 963613"/>
                  <a:gd name="connsiteX15" fmla="*/ 1068388 w 1154113"/>
                  <a:gd name="connsiteY15" fmla="*/ 362752 h 963613"/>
                  <a:gd name="connsiteX16" fmla="*/ 1061247 w 1154113"/>
                  <a:gd name="connsiteY16" fmla="*/ 369888 h 963613"/>
                  <a:gd name="connsiteX17" fmla="*/ 92866 w 1154113"/>
                  <a:gd name="connsiteY17" fmla="*/ 369888 h 963613"/>
                  <a:gd name="connsiteX18" fmla="*/ 85725 w 1154113"/>
                  <a:gd name="connsiteY18" fmla="*/ 362752 h 963613"/>
                  <a:gd name="connsiteX19" fmla="*/ 85725 w 1154113"/>
                  <a:gd name="connsiteY19" fmla="*/ 157949 h 963613"/>
                  <a:gd name="connsiteX20" fmla="*/ 92866 w 1154113"/>
                  <a:gd name="connsiteY20" fmla="*/ 150813 h 963613"/>
                  <a:gd name="connsiteX21" fmla="*/ 336550 w 1154113"/>
                  <a:gd name="connsiteY21" fmla="*/ 71438 h 963613"/>
                  <a:gd name="connsiteX22" fmla="*/ 817563 w 1154113"/>
                  <a:gd name="connsiteY22" fmla="*/ 71438 h 963613"/>
                  <a:gd name="connsiteX23" fmla="*/ 817563 w 1154113"/>
                  <a:gd name="connsiteY23" fmla="*/ 101601 h 963613"/>
                  <a:gd name="connsiteX24" fmla="*/ 336550 w 1154113"/>
                  <a:gd name="connsiteY24" fmla="*/ 101601 h 963613"/>
                  <a:gd name="connsiteX25" fmla="*/ 15712 w 1154113"/>
                  <a:gd name="connsiteY25" fmla="*/ 71438 h 963613"/>
                  <a:gd name="connsiteX26" fmla="*/ 163547 w 1154113"/>
                  <a:gd name="connsiteY26" fmla="*/ 71438 h 963613"/>
                  <a:gd name="connsiteX27" fmla="*/ 163547 w 1154113"/>
                  <a:gd name="connsiteY27" fmla="*/ 102843 h 963613"/>
                  <a:gd name="connsiteX28" fmla="*/ 31424 w 1154113"/>
                  <a:gd name="connsiteY28" fmla="*/ 102843 h 963613"/>
                  <a:gd name="connsiteX29" fmla="*/ 31424 w 1154113"/>
                  <a:gd name="connsiteY29" fmla="*/ 932209 h 963613"/>
                  <a:gd name="connsiteX30" fmla="*/ 1122689 w 1154113"/>
                  <a:gd name="connsiteY30" fmla="*/ 932209 h 963613"/>
                  <a:gd name="connsiteX31" fmla="*/ 1122689 w 1154113"/>
                  <a:gd name="connsiteY31" fmla="*/ 102843 h 963613"/>
                  <a:gd name="connsiteX32" fmla="*/ 990566 w 1154113"/>
                  <a:gd name="connsiteY32" fmla="*/ 102843 h 963613"/>
                  <a:gd name="connsiteX33" fmla="*/ 990566 w 1154113"/>
                  <a:gd name="connsiteY33" fmla="*/ 71438 h 963613"/>
                  <a:gd name="connsiteX34" fmla="*/ 1138401 w 1154113"/>
                  <a:gd name="connsiteY34" fmla="*/ 71438 h 963613"/>
                  <a:gd name="connsiteX35" fmla="*/ 1154113 w 1154113"/>
                  <a:gd name="connsiteY35" fmla="*/ 87140 h 963613"/>
                  <a:gd name="connsiteX36" fmla="*/ 1154113 w 1154113"/>
                  <a:gd name="connsiteY36" fmla="*/ 947911 h 963613"/>
                  <a:gd name="connsiteX37" fmla="*/ 1138401 w 1154113"/>
                  <a:gd name="connsiteY37" fmla="*/ 963613 h 963613"/>
                  <a:gd name="connsiteX38" fmla="*/ 15712 w 1154113"/>
                  <a:gd name="connsiteY38" fmla="*/ 963613 h 963613"/>
                  <a:gd name="connsiteX39" fmla="*/ 0 w 1154113"/>
                  <a:gd name="connsiteY39" fmla="*/ 947911 h 963613"/>
                  <a:gd name="connsiteX40" fmla="*/ 0 w 1154113"/>
                  <a:gd name="connsiteY40" fmla="*/ 87140 h 963613"/>
                  <a:gd name="connsiteX41" fmla="*/ 15712 w 1154113"/>
                  <a:gd name="connsiteY41" fmla="*/ 71438 h 963613"/>
                  <a:gd name="connsiteX42" fmla="*/ 856425 w 1154113"/>
                  <a:gd name="connsiteY42" fmla="*/ 0 h 963613"/>
                  <a:gd name="connsiteX43" fmla="*/ 951737 w 1154113"/>
                  <a:gd name="connsiteY43" fmla="*/ 0 h 963613"/>
                  <a:gd name="connsiteX44" fmla="*/ 958850 w 1154113"/>
                  <a:gd name="connsiteY44" fmla="*/ 7153 h 963613"/>
                  <a:gd name="connsiteX45" fmla="*/ 958850 w 1154113"/>
                  <a:gd name="connsiteY45" fmla="*/ 70095 h 963613"/>
                  <a:gd name="connsiteX46" fmla="*/ 958850 w 1154113"/>
                  <a:gd name="connsiteY46" fmla="*/ 101565 h 963613"/>
                  <a:gd name="connsiteX47" fmla="*/ 958850 w 1154113"/>
                  <a:gd name="connsiteY47" fmla="*/ 150202 h 963613"/>
                  <a:gd name="connsiteX48" fmla="*/ 958850 w 1154113"/>
                  <a:gd name="connsiteY48" fmla="*/ 188111 h 963613"/>
                  <a:gd name="connsiteX49" fmla="*/ 951737 w 1154113"/>
                  <a:gd name="connsiteY49" fmla="*/ 195263 h 963613"/>
                  <a:gd name="connsiteX50" fmla="*/ 856425 w 1154113"/>
                  <a:gd name="connsiteY50" fmla="*/ 195263 h 963613"/>
                  <a:gd name="connsiteX51" fmla="*/ 849312 w 1154113"/>
                  <a:gd name="connsiteY51" fmla="*/ 188111 h 963613"/>
                  <a:gd name="connsiteX52" fmla="*/ 849312 w 1154113"/>
                  <a:gd name="connsiteY52" fmla="*/ 150202 h 963613"/>
                  <a:gd name="connsiteX53" fmla="*/ 849312 w 1154113"/>
                  <a:gd name="connsiteY53" fmla="*/ 101565 h 963613"/>
                  <a:gd name="connsiteX54" fmla="*/ 849312 w 1154113"/>
                  <a:gd name="connsiteY54" fmla="*/ 70095 h 963613"/>
                  <a:gd name="connsiteX55" fmla="*/ 849312 w 1154113"/>
                  <a:gd name="connsiteY55" fmla="*/ 7153 h 963613"/>
                  <a:gd name="connsiteX56" fmla="*/ 856425 w 1154113"/>
                  <a:gd name="connsiteY56" fmla="*/ 0 h 963613"/>
                  <a:gd name="connsiteX57" fmla="*/ 202375 w 1154113"/>
                  <a:gd name="connsiteY57" fmla="*/ 0 h 963613"/>
                  <a:gd name="connsiteX58" fmla="*/ 297687 w 1154113"/>
                  <a:gd name="connsiteY58" fmla="*/ 0 h 963613"/>
                  <a:gd name="connsiteX59" fmla="*/ 304800 w 1154113"/>
                  <a:gd name="connsiteY59" fmla="*/ 7153 h 963613"/>
                  <a:gd name="connsiteX60" fmla="*/ 304800 w 1154113"/>
                  <a:gd name="connsiteY60" fmla="*/ 70095 h 963613"/>
                  <a:gd name="connsiteX61" fmla="*/ 304800 w 1154113"/>
                  <a:gd name="connsiteY61" fmla="*/ 101565 h 963613"/>
                  <a:gd name="connsiteX62" fmla="*/ 304800 w 1154113"/>
                  <a:gd name="connsiteY62" fmla="*/ 150202 h 963613"/>
                  <a:gd name="connsiteX63" fmla="*/ 304800 w 1154113"/>
                  <a:gd name="connsiteY63" fmla="*/ 188111 h 963613"/>
                  <a:gd name="connsiteX64" fmla="*/ 297687 w 1154113"/>
                  <a:gd name="connsiteY64" fmla="*/ 195263 h 963613"/>
                  <a:gd name="connsiteX65" fmla="*/ 202375 w 1154113"/>
                  <a:gd name="connsiteY65" fmla="*/ 195263 h 963613"/>
                  <a:gd name="connsiteX66" fmla="*/ 195262 w 1154113"/>
                  <a:gd name="connsiteY66" fmla="*/ 188111 h 963613"/>
                  <a:gd name="connsiteX67" fmla="*/ 195262 w 1154113"/>
                  <a:gd name="connsiteY67" fmla="*/ 150202 h 963613"/>
                  <a:gd name="connsiteX68" fmla="*/ 195262 w 1154113"/>
                  <a:gd name="connsiteY68" fmla="*/ 101565 h 963613"/>
                  <a:gd name="connsiteX69" fmla="*/ 195262 w 1154113"/>
                  <a:gd name="connsiteY69" fmla="*/ 70095 h 963613"/>
                  <a:gd name="connsiteX70" fmla="*/ 195262 w 1154113"/>
                  <a:gd name="connsiteY70" fmla="*/ 7153 h 963613"/>
                  <a:gd name="connsiteX71" fmla="*/ 202375 w 1154113"/>
                  <a:gd name="connsiteY71" fmla="*/ 0 h 963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1154113" h="963613">
                    <a:moveTo>
                      <a:pt x="92866" y="150813"/>
                    </a:moveTo>
                    <a:cubicBezTo>
                      <a:pt x="92866" y="150813"/>
                      <a:pt x="92866" y="150813"/>
                      <a:pt x="163567" y="150813"/>
                    </a:cubicBezTo>
                    <a:lnTo>
                      <a:pt x="163567" y="211469"/>
                    </a:lnTo>
                    <a:cubicBezTo>
                      <a:pt x="163567" y="220032"/>
                      <a:pt x="170708" y="227168"/>
                      <a:pt x="179278" y="227168"/>
                    </a:cubicBezTo>
                    <a:cubicBezTo>
                      <a:pt x="179278" y="227168"/>
                      <a:pt x="179278" y="227168"/>
                      <a:pt x="320678" y="227168"/>
                    </a:cubicBezTo>
                    <a:cubicBezTo>
                      <a:pt x="329248" y="227168"/>
                      <a:pt x="336390" y="220032"/>
                      <a:pt x="336390" y="211469"/>
                    </a:cubicBezTo>
                    <a:cubicBezTo>
                      <a:pt x="336390" y="211469"/>
                      <a:pt x="336390" y="211469"/>
                      <a:pt x="336390" y="150813"/>
                    </a:cubicBezTo>
                    <a:cubicBezTo>
                      <a:pt x="336390" y="150813"/>
                      <a:pt x="336390" y="150813"/>
                      <a:pt x="817723" y="150813"/>
                    </a:cubicBezTo>
                    <a:cubicBezTo>
                      <a:pt x="817723" y="150813"/>
                      <a:pt x="817723" y="150813"/>
                      <a:pt x="817723" y="211469"/>
                    </a:cubicBezTo>
                    <a:cubicBezTo>
                      <a:pt x="817723" y="220032"/>
                      <a:pt x="824864" y="227168"/>
                      <a:pt x="833434" y="227168"/>
                    </a:cubicBezTo>
                    <a:cubicBezTo>
                      <a:pt x="833434" y="227168"/>
                      <a:pt x="833434" y="227168"/>
                      <a:pt x="974835" y="227168"/>
                    </a:cubicBezTo>
                    <a:cubicBezTo>
                      <a:pt x="983405" y="227168"/>
                      <a:pt x="990546" y="220032"/>
                      <a:pt x="990546" y="211469"/>
                    </a:cubicBezTo>
                    <a:cubicBezTo>
                      <a:pt x="990546" y="211469"/>
                      <a:pt x="990546" y="211469"/>
                      <a:pt x="990546" y="150813"/>
                    </a:cubicBezTo>
                    <a:cubicBezTo>
                      <a:pt x="990546" y="150813"/>
                      <a:pt x="990546" y="150813"/>
                      <a:pt x="1061247" y="150813"/>
                    </a:cubicBezTo>
                    <a:cubicBezTo>
                      <a:pt x="1065532" y="150813"/>
                      <a:pt x="1068388" y="154381"/>
                      <a:pt x="1068388" y="157949"/>
                    </a:cubicBezTo>
                    <a:cubicBezTo>
                      <a:pt x="1068388" y="157949"/>
                      <a:pt x="1068388" y="157949"/>
                      <a:pt x="1068388" y="362752"/>
                    </a:cubicBezTo>
                    <a:cubicBezTo>
                      <a:pt x="1068388" y="367034"/>
                      <a:pt x="1065532" y="369888"/>
                      <a:pt x="1061247" y="369888"/>
                    </a:cubicBezTo>
                    <a:cubicBezTo>
                      <a:pt x="1061247" y="369888"/>
                      <a:pt x="1061247" y="369888"/>
                      <a:pt x="92866" y="369888"/>
                    </a:cubicBezTo>
                    <a:cubicBezTo>
                      <a:pt x="88581" y="369888"/>
                      <a:pt x="85725" y="367034"/>
                      <a:pt x="85725" y="362752"/>
                    </a:cubicBezTo>
                    <a:cubicBezTo>
                      <a:pt x="85725" y="362752"/>
                      <a:pt x="85725" y="362752"/>
                      <a:pt x="85725" y="157949"/>
                    </a:cubicBezTo>
                    <a:cubicBezTo>
                      <a:pt x="85725" y="154381"/>
                      <a:pt x="88581" y="150813"/>
                      <a:pt x="92866" y="150813"/>
                    </a:cubicBezTo>
                    <a:close/>
                    <a:moveTo>
                      <a:pt x="336550" y="71438"/>
                    </a:moveTo>
                    <a:lnTo>
                      <a:pt x="817563" y="71438"/>
                    </a:lnTo>
                    <a:lnTo>
                      <a:pt x="817563" y="101601"/>
                    </a:lnTo>
                    <a:lnTo>
                      <a:pt x="336550" y="101601"/>
                    </a:lnTo>
                    <a:close/>
                    <a:moveTo>
                      <a:pt x="15712" y="71438"/>
                    </a:moveTo>
                    <a:cubicBezTo>
                      <a:pt x="15712" y="71438"/>
                      <a:pt x="15712" y="71438"/>
                      <a:pt x="163547" y="71438"/>
                    </a:cubicBezTo>
                    <a:cubicBezTo>
                      <a:pt x="163547" y="71438"/>
                      <a:pt x="163547" y="71438"/>
                      <a:pt x="163547" y="102843"/>
                    </a:cubicBezTo>
                    <a:cubicBezTo>
                      <a:pt x="163547" y="102843"/>
                      <a:pt x="163547" y="102843"/>
                      <a:pt x="31424" y="102843"/>
                    </a:cubicBezTo>
                    <a:cubicBezTo>
                      <a:pt x="31424" y="102843"/>
                      <a:pt x="31424" y="102843"/>
                      <a:pt x="31424" y="932209"/>
                    </a:cubicBezTo>
                    <a:cubicBezTo>
                      <a:pt x="31424" y="932209"/>
                      <a:pt x="31424" y="932209"/>
                      <a:pt x="1122689" y="932209"/>
                    </a:cubicBezTo>
                    <a:cubicBezTo>
                      <a:pt x="1122689" y="932209"/>
                      <a:pt x="1122689" y="932209"/>
                      <a:pt x="1122689" y="102843"/>
                    </a:cubicBezTo>
                    <a:cubicBezTo>
                      <a:pt x="1122689" y="102843"/>
                      <a:pt x="1122689" y="102843"/>
                      <a:pt x="990566" y="102843"/>
                    </a:cubicBezTo>
                    <a:cubicBezTo>
                      <a:pt x="990566" y="102843"/>
                      <a:pt x="990566" y="102843"/>
                      <a:pt x="990566" y="71438"/>
                    </a:cubicBezTo>
                    <a:cubicBezTo>
                      <a:pt x="990566" y="71438"/>
                      <a:pt x="990566" y="71438"/>
                      <a:pt x="1138401" y="71438"/>
                    </a:cubicBezTo>
                    <a:cubicBezTo>
                      <a:pt x="1146971" y="71438"/>
                      <a:pt x="1154113" y="78576"/>
                      <a:pt x="1154113" y="87140"/>
                    </a:cubicBezTo>
                    <a:cubicBezTo>
                      <a:pt x="1154113" y="87140"/>
                      <a:pt x="1154113" y="87140"/>
                      <a:pt x="1154113" y="947911"/>
                    </a:cubicBezTo>
                    <a:cubicBezTo>
                      <a:pt x="1154113" y="956476"/>
                      <a:pt x="1146971" y="963613"/>
                      <a:pt x="1138401" y="963613"/>
                    </a:cubicBezTo>
                    <a:cubicBezTo>
                      <a:pt x="1138401" y="963613"/>
                      <a:pt x="1138401" y="963613"/>
                      <a:pt x="15712" y="963613"/>
                    </a:cubicBezTo>
                    <a:cubicBezTo>
                      <a:pt x="7142" y="963613"/>
                      <a:pt x="0" y="956476"/>
                      <a:pt x="0" y="947911"/>
                    </a:cubicBezTo>
                    <a:cubicBezTo>
                      <a:pt x="0" y="947911"/>
                      <a:pt x="0" y="947911"/>
                      <a:pt x="0" y="87140"/>
                    </a:cubicBezTo>
                    <a:cubicBezTo>
                      <a:pt x="0" y="78576"/>
                      <a:pt x="7142" y="71438"/>
                      <a:pt x="15712" y="71438"/>
                    </a:cubicBezTo>
                    <a:close/>
                    <a:moveTo>
                      <a:pt x="856425" y="0"/>
                    </a:moveTo>
                    <a:cubicBezTo>
                      <a:pt x="856425" y="0"/>
                      <a:pt x="856425" y="0"/>
                      <a:pt x="951737" y="0"/>
                    </a:cubicBezTo>
                    <a:cubicBezTo>
                      <a:pt x="955294" y="0"/>
                      <a:pt x="958850" y="3576"/>
                      <a:pt x="958850" y="7153"/>
                    </a:cubicBezTo>
                    <a:cubicBezTo>
                      <a:pt x="958850" y="7153"/>
                      <a:pt x="958850" y="7153"/>
                      <a:pt x="958850" y="70095"/>
                    </a:cubicBezTo>
                    <a:cubicBezTo>
                      <a:pt x="958850" y="70095"/>
                      <a:pt x="958850" y="70095"/>
                      <a:pt x="958850" y="101565"/>
                    </a:cubicBezTo>
                    <a:cubicBezTo>
                      <a:pt x="958850" y="101565"/>
                      <a:pt x="958850" y="101565"/>
                      <a:pt x="958850" y="150202"/>
                    </a:cubicBezTo>
                    <a:cubicBezTo>
                      <a:pt x="958850" y="150202"/>
                      <a:pt x="958850" y="150202"/>
                      <a:pt x="958850" y="188111"/>
                    </a:cubicBezTo>
                    <a:cubicBezTo>
                      <a:pt x="958850" y="192402"/>
                      <a:pt x="955294" y="195263"/>
                      <a:pt x="951737" y="195263"/>
                    </a:cubicBezTo>
                    <a:cubicBezTo>
                      <a:pt x="951737" y="195263"/>
                      <a:pt x="951737" y="195263"/>
                      <a:pt x="856425" y="195263"/>
                    </a:cubicBezTo>
                    <a:cubicBezTo>
                      <a:pt x="852869" y="195263"/>
                      <a:pt x="849312" y="192402"/>
                      <a:pt x="849312" y="188111"/>
                    </a:cubicBezTo>
                    <a:cubicBezTo>
                      <a:pt x="849312" y="188111"/>
                      <a:pt x="849312" y="188111"/>
                      <a:pt x="849312" y="150202"/>
                    </a:cubicBezTo>
                    <a:cubicBezTo>
                      <a:pt x="849312" y="150202"/>
                      <a:pt x="849312" y="150202"/>
                      <a:pt x="849312" y="101565"/>
                    </a:cubicBezTo>
                    <a:cubicBezTo>
                      <a:pt x="849312" y="101565"/>
                      <a:pt x="849312" y="101565"/>
                      <a:pt x="849312" y="70095"/>
                    </a:cubicBezTo>
                    <a:cubicBezTo>
                      <a:pt x="849312" y="70095"/>
                      <a:pt x="849312" y="70095"/>
                      <a:pt x="849312" y="7153"/>
                    </a:cubicBezTo>
                    <a:cubicBezTo>
                      <a:pt x="849312" y="3576"/>
                      <a:pt x="852869" y="0"/>
                      <a:pt x="856425" y="0"/>
                    </a:cubicBezTo>
                    <a:close/>
                    <a:moveTo>
                      <a:pt x="202375" y="0"/>
                    </a:moveTo>
                    <a:cubicBezTo>
                      <a:pt x="202375" y="0"/>
                      <a:pt x="202375" y="0"/>
                      <a:pt x="297687" y="0"/>
                    </a:cubicBezTo>
                    <a:cubicBezTo>
                      <a:pt x="301243" y="0"/>
                      <a:pt x="304800" y="3576"/>
                      <a:pt x="304800" y="7153"/>
                    </a:cubicBezTo>
                    <a:cubicBezTo>
                      <a:pt x="304800" y="7153"/>
                      <a:pt x="304800" y="7153"/>
                      <a:pt x="304800" y="70095"/>
                    </a:cubicBezTo>
                    <a:cubicBezTo>
                      <a:pt x="304800" y="70095"/>
                      <a:pt x="304800" y="70095"/>
                      <a:pt x="304800" y="101565"/>
                    </a:cubicBezTo>
                    <a:cubicBezTo>
                      <a:pt x="304800" y="101565"/>
                      <a:pt x="304800" y="101565"/>
                      <a:pt x="304800" y="150202"/>
                    </a:cubicBezTo>
                    <a:cubicBezTo>
                      <a:pt x="304800" y="150202"/>
                      <a:pt x="304800" y="150202"/>
                      <a:pt x="304800" y="188111"/>
                    </a:cubicBezTo>
                    <a:cubicBezTo>
                      <a:pt x="304800" y="192402"/>
                      <a:pt x="301243" y="195263"/>
                      <a:pt x="297687" y="195263"/>
                    </a:cubicBezTo>
                    <a:cubicBezTo>
                      <a:pt x="297687" y="195263"/>
                      <a:pt x="297687" y="195263"/>
                      <a:pt x="202375" y="195263"/>
                    </a:cubicBezTo>
                    <a:cubicBezTo>
                      <a:pt x="198818" y="195263"/>
                      <a:pt x="195262" y="192402"/>
                      <a:pt x="195262" y="188111"/>
                    </a:cubicBezTo>
                    <a:cubicBezTo>
                      <a:pt x="195262" y="188111"/>
                      <a:pt x="195262" y="188111"/>
                      <a:pt x="195262" y="150202"/>
                    </a:cubicBezTo>
                    <a:cubicBezTo>
                      <a:pt x="195262" y="150202"/>
                      <a:pt x="195262" y="150202"/>
                      <a:pt x="195262" y="101565"/>
                    </a:cubicBezTo>
                    <a:cubicBezTo>
                      <a:pt x="195262" y="101565"/>
                      <a:pt x="195262" y="101565"/>
                      <a:pt x="195262" y="70095"/>
                    </a:cubicBezTo>
                    <a:cubicBezTo>
                      <a:pt x="195262" y="70095"/>
                      <a:pt x="195262" y="70095"/>
                      <a:pt x="195262" y="7153"/>
                    </a:cubicBezTo>
                    <a:cubicBezTo>
                      <a:pt x="195262" y="3576"/>
                      <a:pt x="198818" y="0"/>
                      <a:pt x="202375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7" name="ee4pContent2"/>
          <p:cNvSpPr txBox="1"/>
          <p:nvPr/>
        </p:nvSpPr>
        <p:spPr>
          <a:xfrm>
            <a:off x="3160964" y="3193443"/>
            <a:ext cx="3720165" cy="12926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Manage claims with supplier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Handle labor and legal findings, and issues with subcontractors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Impose sanctions to supplier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Define and request to SCM suspension, reactivation or termination of the contract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Manage auditing requests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06392" y="3193443"/>
            <a:ext cx="1995772" cy="22159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Contract execution</a:t>
            </a:r>
            <a:br>
              <a:rPr lang="en-US" sz="1400" dirty="0">
                <a:solidFill>
                  <a:schemeClr val="tx2"/>
                </a:solidFill>
              </a:rPr>
            </a:br>
            <a:r>
              <a:rPr lang="en-US" sz="1400" dirty="0">
                <a:solidFill>
                  <a:schemeClr val="tx2"/>
                </a:solidFill>
              </a:rPr>
              <a:t>management</a:t>
            </a:r>
          </a:p>
        </p:txBody>
      </p:sp>
      <p:cxnSp>
        <p:nvCxnSpPr>
          <p:cNvPr id="79" name="Straight Connector 78"/>
          <p:cNvCxnSpPr/>
          <p:nvPr/>
        </p:nvCxnSpPr>
        <p:spPr>
          <a:xfrm>
            <a:off x="2881564" y="3193443"/>
            <a:ext cx="0" cy="2031325"/>
          </a:xfrm>
          <a:prstGeom prst="line">
            <a:avLst/>
          </a:prstGeom>
          <a:ln w="3175">
            <a:solidFill>
              <a:srgbClr val="7F7F7F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/>
          <p:cNvGrpSpPr>
            <a:grpSpLocks noChangeAspect="1"/>
          </p:cNvGrpSpPr>
          <p:nvPr/>
        </p:nvGrpSpPr>
        <p:grpSpPr>
          <a:xfrm>
            <a:off x="2144169" y="3521200"/>
            <a:ext cx="502063" cy="502063"/>
            <a:chOff x="5273675" y="2606039"/>
            <a:chExt cx="1644650" cy="1644650"/>
          </a:xfrm>
        </p:grpSpPr>
        <p:sp>
          <p:nvSpPr>
            <p:cNvPr id="81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039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82" name="Group 81"/>
            <p:cNvGrpSpPr/>
            <p:nvPr/>
          </p:nvGrpSpPr>
          <p:grpSpPr>
            <a:xfrm>
              <a:off x="5443803" y="2822734"/>
              <a:ext cx="1304394" cy="1211265"/>
              <a:chOff x="5443803" y="2822734"/>
              <a:chExt cx="1304394" cy="1211265"/>
            </a:xfrm>
          </p:grpSpPr>
          <p:sp>
            <p:nvSpPr>
              <p:cNvPr id="83" name="Freeform 82"/>
              <p:cNvSpPr>
                <a:spLocks/>
              </p:cNvSpPr>
              <p:nvPr/>
            </p:nvSpPr>
            <p:spPr bwMode="auto">
              <a:xfrm>
                <a:off x="5597791" y="3014821"/>
                <a:ext cx="582613" cy="563563"/>
              </a:xfrm>
              <a:custGeom>
                <a:avLst/>
                <a:gdLst>
                  <a:gd name="connsiteX0" fmla="*/ 16442 w 582613"/>
                  <a:gd name="connsiteY0" fmla="*/ 530225 h 563563"/>
                  <a:gd name="connsiteX1" fmla="*/ 566171 w 582613"/>
                  <a:gd name="connsiteY1" fmla="*/ 530225 h 563563"/>
                  <a:gd name="connsiteX2" fmla="*/ 582613 w 582613"/>
                  <a:gd name="connsiteY2" fmla="*/ 546524 h 563563"/>
                  <a:gd name="connsiteX3" fmla="*/ 566171 w 582613"/>
                  <a:gd name="connsiteY3" fmla="*/ 563563 h 563563"/>
                  <a:gd name="connsiteX4" fmla="*/ 16442 w 582613"/>
                  <a:gd name="connsiteY4" fmla="*/ 563563 h 563563"/>
                  <a:gd name="connsiteX5" fmla="*/ 0 w 582613"/>
                  <a:gd name="connsiteY5" fmla="*/ 546524 h 563563"/>
                  <a:gd name="connsiteX6" fmla="*/ 16442 w 582613"/>
                  <a:gd name="connsiteY6" fmla="*/ 530225 h 563563"/>
                  <a:gd name="connsiteX7" fmla="*/ 16442 w 582613"/>
                  <a:gd name="connsiteY7" fmla="*/ 398462 h 563563"/>
                  <a:gd name="connsiteX8" fmla="*/ 566171 w 582613"/>
                  <a:gd name="connsiteY8" fmla="*/ 398462 h 563563"/>
                  <a:gd name="connsiteX9" fmla="*/ 582613 w 582613"/>
                  <a:gd name="connsiteY9" fmla="*/ 414776 h 563563"/>
                  <a:gd name="connsiteX10" fmla="*/ 566171 w 582613"/>
                  <a:gd name="connsiteY10" fmla="*/ 431800 h 563563"/>
                  <a:gd name="connsiteX11" fmla="*/ 16442 w 582613"/>
                  <a:gd name="connsiteY11" fmla="*/ 431800 h 563563"/>
                  <a:gd name="connsiteX12" fmla="*/ 0 w 582613"/>
                  <a:gd name="connsiteY12" fmla="*/ 414776 h 563563"/>
                  <a:gd name="connsiteX13" fmla="*/ 16442 w 582613"/>
                  <a:gd name="connsiteY13" fmla="*/ 398462 h 563563"/>
                  <a:gd name="connsiteX14" fmla="*/ 16442 w 582613"/>
                  <a:gd name="connsiteY14" fmla="*/ 265112 h 563563"/>
                  <a:gd name="connsiteX15" fmla="*/ 566171 w 582613"/>
                  <a:gd name="connsiteY15" fmla="*/ 265112 h 563563"/>
                  <a:gd name="connsiteX16" fmla="*/ 582613 w 582613"/>
                  <a:gd name="connsiteY16" fmla="*/ 282946 h 563563"/>
                  <a:gd name="connsiteX17" fmla="*/ 566171 w 582613"/>
                  <a:gd name="connsiteY17" fmla="*/ 300037 h 563563"/>
                  <a:gd name="connsiteX18" fmla="*/ 16442 w 582613"/>
                  <a:gd name="connsiteY18" fmla="*/ 300037 h 563563"/>
                  <a:gd name="connsiteX19" fmla="*/ 0 w 582613"/>
                  <a:gd name="connsiteY19" fmla="*/ 282946 h 563563"/>
                  <a:gd name="connsiteX20" fmla="*/ 16442 w 582613"/>
                  <a:gd name="connsiteY20" fmla="*/ 265112 h 563563"/>
                  <a:gd name="connsiteX21" fmla="*/ 16442 w 582613"/>
                  <a:gd name="connsiteY21" fmla="*/ 133350 h 563563"/>
                  <a:gd name="connsiteX22" fmla="*/ 566171 w 582613"/>
                  <a:gd name="connsiteY22" fmla="*/ 133350 h 563563"/>
                  <a:gd name="connsiteX23" fmla="*/ 582613 w 582613"/>
                  <a:gd name="connsiteY23" fmla="*/ 149664 h 563563"/>
                  <a:gd name="connsiteX24" fmla="*/ 566171 w 582613"/>
                  <a:gd name="connsiteY24" fmla="*/ 166688 h 563563"/>
                  <a:gd name="connsiteX25" fmla="*/ 16442 w 582613"/>
                  <a:gd name="connsiteY25" fmla="*/ 166688 h 563563"/>
                  <a:gd name="connsiteX26" fmla="*/ 0 w 582613"/>
                  <a:gd name="connsiteY26" fmla="*/ 149664 h 563563"/>
                  <a:gd name="connsiteX27" fmla="*/ 16442 w 582613"/>
                  <a:gd name="connsiteY27" fmla="*/ 133350 h 563563"/>
                  <a:gd name="connsiteX28" fmla="*/ 16442 w 582613"/>
                  <a:gd name="connsiteY28" fmla="*/ 0 h 563563"/>
                  <a:gd name="connsiteX29" fmla="*/ 566171 w 582613"/>
                  <a:gd name="connsiteY29" fmla="*/ 0 h 563563"/>
                  <a:gd name="connsiteX30" fmla="*/ 582613 w 582613"/>
                  <a:gd name="connsiteY30" fmla="*/ 16669 h 563563"/>
                  <a:gd name="connsiteX31" fmla="*/ 566171 w 582613"/>
                  <a:gd name="connsiteY31" fmla="*/ 33338 h 563563"/>
                  <a:gd name="connsiteX32" fmla="*/ 16442 w 582613"/>
                  <a:gd name="connsiteY32" fmla="*/ 33338 h 563563"/>
                  <a:gd name="connsiteX33" fmla="*/ 0 w 582613"/>
                  <a:gd name="connsiteY33" fmla="*/ 16669 h 563563"/>
                  <a:gd name="connsiteX34" fmla="*/ 16442 w 582613"/>
                  <a:gd name="connsiteY34" fmla="*/ 0 h 563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82613" h="563563">
                    <a:moveTo>
                      <a:pt x="16442" y="530225"/>
                    </a:moveTo>
                    <a:cubicBezTo>
                      <a:pt x="566171" y="530225"/>
                      <a:pt x="566171" y="530225"/>
                      <a:pt x="566171" y="530225"/>
                    </a:cubicBezTo>
                    <a:cubicBezTo>
                      <a:pt x="575465" y="530225"/>
                      <a:pt x="582613" y="537634"/>
                      <a:pt x="582613" y="546524"/>
                    </a:cubicBezTo>
                    <a:cubicBezTo>
                      <a:pt x="582613" y="556155"/>
                      <a:pt x="575465" y="563563"/>
                      <a:pt x="566171" y="563563"/>
                    </a:cubicBezTo>
                    <a:cubicBezTo>
                      <a:pt x="16442" y="563563"/>
                      <a:pt x="16442" y="563563"/>
                      <a:pt x="16442" y="563563"/>
                    </a:cubicBezTo>
                    <a:cubicBezTo>
                      <a:pt x="7149" y="563563"/>
                      <a:pt x="0" y="556155"/>
                      <a:pt x="0" y="546524"/>
                    </a:cubicBezTo>
                    <a:cubicBezTo>
                      <a:pt x="0" y="537634"/>
                      <a:pt x="7149" y="530225"/>
                      <a:pt x="16442" y="530225"/>
                    </a:cubicBezTo>
                    <a:close/>
                    <a:moveTo>
                      <a:pt x="16442" y="398462"/>
                    </a:moveTo>
                    <a:cubicBezTo>
                      <a:pt x="566171" y="398462"/>
                      <a:pt x="566171" y="398462"/>
                      <a:pt x="566171" y="398462"/>
                    </a:cubicBezTo>
                    <a:cubicBezTo>
                      <a:pt x="575465" y="398462"/>
                      <a:pt x="582613" y="405555"/>
                      <a:pt x="582613" y="414776"/>
                    </a:cubicBezTo>
                    <a:cubicBezTo>
                      <a:pt x="582613" y="424707"/>
                      <a:pt x="575465" y="431800"/>
                      <a:pt x="566171" y="431800"/>
                    </a:cubicBezTo>
                    <a:cubicBezTo>
                      <a:pt x="16442" y="431800"/>
                      <a:pt x="16442" y="431800"/>
                      <a:pt x="16442" y="431800"/>
                    </a:cubicBezTo>
                    <a:cubicBezTo>
                      <a:pt x="7149" y="431800"/>
                      <a:pt x="0" y="424707"/>
                      <a:pt x="0" y="414776"/>
                    </a:cubicBezTo>
                    <a:cubicBezTo>
                      <a:pt x="0" y="405555"/>
                      <a:pt x="7149" y="398462"/>
                      <a:pt x="16442" y="398462"/>
                    </a:cubicBezTo>
                    <a:close/>
                    <a:moveTo>
                      <a:pt x="16442" y="265112"/>
                    </a:moveTo>
                    <a:cubicBezTo>
                      <a:pt x="566171" y="265112"/>
                      <a:pt x="566171" y="265112"/>
                      <a:pt x="566171" y="265112"/>
                    </a:cubicBezTo>
                    <a:cubicBezTo>
                      <a:pt x="575465" y="265112"/>
                      <a:pt x="582613" y="273286"/>
                      <a:pt x="582613" y="282946"/>
                    </a:cubicBezTo>
                    <a:cubicBezTo>
                      <a:pt x="582613" y="292606"/>
                      <a:pt x="575465" y="300037"/>
                      <a:pt x="566171" y="300037"/>
                    </a:cubicBezTo>
                    <a:cubicBezTo>
                      <a:pt x="16442" y="300037"/>
                      <a:pt x="16442" y="300037"/>
                      <a:pt x="16442" y="300037"/>
                    </a:cubicBezTo>
                    <a:cubicBezTo>
                      <a:pt x="7149" y="300037"/>
                      <a:pt x="0" y="292606"/>
                      <a:pt x="0" y="282946"/>
                    </a:cubicBezTo>
                    <a:cubicBezTo>
                      <a:pt x="0" y="273286"/>
                      <a:pt x="7149" y="265112"/>
                      <a:pt x="16442" y="265112"/>
                    </a:cubicBezTo>
                    <a:close/>
                    <a:moveTo>
                      <a:pt x="16442" y="133350"/>
                    </a:moveTo>
                    <a:cubicBezTo>
                      <a:pt x="566171" y="133350"/>
                      <a:pt x="566171" y="133350"/>
                      <a:pt x="566171" y="133350"/>
                    </a:cubicBezTo>
                    <a:cubicBezTo>
                      <a:pt x="575465" y="133350"/>
                      <a:pt x="582613" y="141152"/>
                      <a:pt x="582613" y="149664"/>
                    </a:cubicBezTo>
                    <a:cubicBezTo>
                      <a:pt x="582613" y="158885"/>
                      <a:pt x="575465" y="166688"/>
                      <a:pt x="566171" y="166688"/>
                    </a:cubicBezTo>
                    <a:cubicBezTo>
                      <a:pt x="16442" y="166688"/>
                      <a:pt x="16442" y="166688"/>
                      <a:pt x="16442" y="166688"/>
                    </a:cubicBezTo>
                    <a:cubicBezTo>
                      <a:pt x="7149" y="166688"/>
                      <a:pt x="0" y="158885"/>
                      <a:pt x="0" y="149664"/>
                    </a:cubicBezTo>
                    <a:cubicBezTo>
                      <a:pt x="0" y="141152"/>
                      <a:pt x="7149" y="133350"/>
                      <a:pt x="16442" y="133350"/>
                    </a:cubicBezTo>
                    <a:close/>
                    <a:moveTo>
                      <a:pt x="16442" y="0"/>
                    </a:moveTo>
                    <a:cubicBezTo>
                      <a:pt x="566171" y="0"/>
                      <a:pt x="566171" y="0"/>
                      <a:pt x="566171" y="0"/>
                    </a:cubicBezTo>
                    <a:cubicBezTo>
                      <a:pt x="575465" y="0"/>
                      <a:pt x="582613" y="7640"/>
                      <a:pt x="582613" y="16669"/>
                    </a:cubicBezTo>
                    <a:cubicBezTo>
                      <a:pt x="582613" y="26392"/>
                      <a:pt x="575465" y="33338"/>
                      <a:pt x="566171" y="33338"/>
                    </a:cubicBezTo>
                    <a:cubicBezTo>
                      <a:pt x="16442" y="33338"/>
                      <a:pt x="16442" y="33338"/>
                      <a:pt x="16442" y="33338"/>
                    </a:cubicBezTo>
                    <a:cubicBezTo>
                      <a:pt x="7149" y="33338"/>
                      <a:pt x="0" y="26392"/>
                      <a:pt x="0" y="16669"/>
                    </a:cubicBezTo>
                    <a:cubicBezTo>
                      <a:pt x="0" y="7640"/>
                      <a:pt x="7149" y="0"/>
                      <a:pt x="16442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83"/>
              <p:cNvSpPr>
                <a:spLocks/>
              </p:cNvSpPr>
              <p:nvPr/>
            </p:nvSpPr>
            <p:spPr bwMode="auto">
              <a:xfrm>
                <a:off x="5443803" y="2822734"/>
                <a:ext cx="1304394" cy="1211265"/>
              </a:xfrm>
              <a:custGeom>
                <a:avLst/>
                <a:gdLst>
                  <a:gd name="connsiteX0" fmla="*/ 170429 w 1304394"/>
                  <a:gd name="connsiteY0" fmla="*/ 1060450 h 1211263"/>
                  <a:gd name="connsiteX1" fmla="*/ 720158 w 1304394"/>
                  <a:gd name="connsiteY1" fmla="*/ 1060450 h 1211263"/>
                  <a:gd name="connsiteX2" fmla="*/ 736600 w 1304394"/>
                  <a:gd name="connsiteY2" fmla="*/ 1077490 h 1211263"/>
                  <a:gd name="connsiteX3" fmla="*/ 720158 w 1304394"/>
                  <a:gd name="connsiteY3" fmla="*/ 1093788 h 1211263"/>
                  <a:gd name="connsiteX4" fmla="*/ 170429 w 1304394"/>
                  <a:gd name="connsiteY4" fmla="*/ 1093788 h 1211263"/>
                  <a:gd name="connsiteX5" fmla="*/ 153987 w 1304394"/>
                  <a:gd name="connsiteY5" fmla="*/ 1077490 h 1211263"/>
                  <a:gd name="connsiteX6" fmla="*/ 170429 w 1304394"/>
                  <a:gd name="connsiteY6" fmla="*/ 1060450 h 1211263"/>
                  <a:gd name="connsiteX7" fmla="*/ 420158 w 1304394"/>
                  <a:gd name="connsiteY7" fmla="*/ 900113 h 1211263"/>
                  <a:gd name="connsiteX8" fmla="*/ 427278 w 1304394"/>
                  <a:gd name="connsiteY8" fmla="*/ 932046 h 1211263"/>
                  <a:gd name="connsiteX9" fmla="*/ 465015 w 1304394"/>
                  <a:gd name="connsiteY9" fmla="*/ 1014362 h 1211263"/>
                  <a:gd name="connsiteX10" fmla="*/ 477831 w 1304394"/>
                  <a:gd name="connsiteY10" fmla="*/ 998751 h 1211263"/>
                  <a:gd name="connsiteX11" fmla="*/ 495632 w 1304394"/>
                  <a:gd name="connsiteY11" fmla="*/ 978172 h 1211263"/>
                  <a:gd name="connsiteX12" fmla="*/ 496344 w 1304394"/>
                  <a:gd name="connsiteY12" fmla="*/ 976752 h 1211263"/>
                  <a:gd name="connsiteX13" fmla="*/ 497768 w 1304394"/>
                  <a:gd name="connsiteY13" fmla="*/ 975333 h 1211263"/>
                  <a:gd name="connsiteX14" fmla="*/ 511296 w 1304394"/>
                  <a:gd name="connsiteY14" fmla="*/ 966108 h 1211263"/>
                  <a:gd name="connsiteX15" fmla="*/ 512008 w 1304394"/>
                  <a:gd name="connsiteY15" fmla="*/ 965398 h 1211263"/>
                  <a:gd name="connsiteX16" fmla="*/ 513433 w 1304394"/>
                  <a:gd name="connsiteY16" fmla="*/ 965398 h 1211263"/>
                  <a:gd name="connsiteX17" fmla="*/ 546897 w 1304394"/>
                  <a:gd name="connsiteY17" fmla="*/ 976752 h 1211263"/>
                  <a:gd name="connsiteX18" fmla="*/ 551170 w 1304394"/>
                  <a:gd name="connsiteY18" fmla="*/ 980301 h 1211263"/>
                  <a:gd name="connsiteX19" fmla="*/ 598875 w 1304394"/>
                  <a:gd name="connsiteY19" fmla="*/ 965398 h 1211263"/>
                  <a:gd name="connsiteX20" fmla="*/ 603147 w 1304394"/>
                  <a:gd name="connsiteY20" fmla="*/ 961141 h 1211263"/>
                  <a:gd name="connsiteX21" fmla="*/ 676485 w 1304394"/>
                  <a:gd name="connsiteY21" fmla="*/ 927789 h 1211263"/>
                  <a:gd name="connsiteX22" fmla="*/ 690726 w 1304394"/>
                  <a:gd name="connsiteY22" fmla="*/ 946948 h 1211263"/>
                  <a:gd name="connsiteX23" fmla="*/ 671501 w 1304394"/>
                  <a:gd name="connsiteY23" fmla="*/ 961141 h 1211263"/>
                  <a:gd name="connsiteX24" fmla="*/ 625220 w 1304394"/>
                  <a:gd name="connsiteY24" fmla="*/ 985978 h 1211263"/>
                  <a:gd name="connsiteX25" fmla="*/ 620948 w 1304394"/>
                  <a:gd name="connsiteY25" fmla="*/ 990235 h 1211263"/>
                  <a:gd name="connsiteX26" fmla="*/ 531945 w 1304394"/>
                  <a:gd name="connsiteY26" fmla="*/ 1007976 h 1211263"/>
                  <a:gd name="connsiteX27" fmla="*/ 524825 w 1304394"/>
                  <a:gd name="connsiteY27" fmla="*/ 1002299 h 1211263"/>
                  <a:gd name="connsiteX28" fmla="*/ 521265 w 1304394"/>
                  <a:gd name="connsiteY28" fmla="*/ 999460 h 1211263"/>
                  <a:gd name="connsiteX29" fmla="*/ 520553 w 1304394"/>
                  <a:gd name="connsiteY29" fmla="*/ 1000170 h 1211263"/>
                  <a:gd name="connsiteX30" fmla="*/ 503464 w 1304394"/>
                  <a:gd name="connsiteY30" fmla="*/ 1020749 h 1211263"/>
                  <a:gd name="connsiteX31" fmla="*/ 487088 w 1304394"/>
                  <a:gd name="connsiteY31" fmla="*/ 1040618 h 1211263"/>
                  <a:gd name="connsiteX32" fmla="*/ 469287 w 1304394"/>
                  <a:gd name="connsiteY32" fmla="*/ 1051972 h 1211263"/>
                  <a:gd name="connsiteX33" fmla="*/ 467151 w 1304394"/>
                  <a:gd name="connsiteY33" fmla="*/ 1052682 h 1211263"/>
                  <a:gd name="connsiteX34" fmla="*/ 465727 w 1304394"/>
                  <a:gd name="connsiteY34" fmla="*/ 1052682 h 1211263"/>
                  <a:gd name="connsiteX35" fmla="*/ 444366 w 1304394"/>
                  <a:gd name="connsiteY35" fmla="*/ 1042038 h 1211263"/>
                  <a:gd name="connsiteX36" fmla="*/ 442230 w 1304394"/>
                  <a:gd name="connsiteY36" fmla="*/ 1039909 h 1211263"/>
                  <a:gd name="connsiteX37" fmla="*/ 441518 w 1304394"/>
                  <a:gd name="connsiteY37" fmla="*/ 1039199 h 1211263"/>
                  <a:gd name="connsiteX38" fmla="*/ 403069 w 1304394"/>
                  <a:gd name="connsiteY38" fmla="*/ 968237 h 1211263"/>
                  <a:gd name="connsiteX39" fmla="*/ 313355 w 1304394"/>
                  <a:gd name="connsiteY39" fmla="*/ 1048424 h 1211263"/>
                  <a:gd name="connsiteX40" fmla="*/ 289858 w 1304394"/>
                  <a:gd name="connsiteY40" fmla="*/ 1045586 h 1211263"/>
                  <a:gd name="connsiteX41" fmla="*/ 292706 w 1304394"/>
                  <a:gd name="connsiteY41" fmla="*/ 1021459 h 1211263"/>
                  <a:gd name="connsiteX42" fmla="*/ 398797 w 1304394"/>
                  <a:gd name="connsiteY42" fmla="*/ 924240 h 1211263"/>
                  <a:gd name="connsiteX43" fmla="*/ 420158 w 1304394"/>
                  <a:gd name="connsiteY43" fmla="*/ 900113 h 1211263"/>
                  <a:gd name="connsiteX44" fmla="*/ 817172 w 1304394"/>
                  <a:gd name="connsiteY44" fmla="*/ 759388 h 1211263"/>
                  <a:gd name="connsiteX45" fmla="*/ 807654 w 1304394"/>
                  <a:gd name="connsiteY45" fmla="*/ 768465 h 1211263"/>
                  <a:gd name="connsiteX46" fmla="*/ 771361 w 1304394"/>
                  <a:gd name="connsiteY46" fmla="*/ 873829 h 1211263"/>
                  <a:gd name="connsiteX47" fmla="*/ 776342 w 1304394"/>
                  <a:gd name="connsiteY47" fmla="*/ 890204 h 1211263"/>
                  <a:gd name="connsiteX48" fmla="*/ 793421 w 1304394"/>
                  <a:gd name="connsiteY48" fmla="*/ 890204 h 1211263"/>
                  <a:gd name="connsiteX49" fmla="*/ 885223 w 1304394"/>
                  <a:gd name="connsiteY49" fmla="*/ 828978 h 1211263"/>
                  <a:gd name="connsiteX50" fmla="*/ 885934 w 1304394"/>
                  <a:gd name="connsiteY50" fmla="*/ 805485 h 1211263"/>
                  <a:gd name="connsiteX51" fmla="*/ 830426 w 1304394"/>
                  <a:gd name="connsiteY51" fmla="*/ 762058 h 1211263"/>
                  <a:gd name="connsiteX52" fmla="*/ 817172 w 1304394"/>
                  <a:gd name="connsiteY52" fmla="*/ 759388 h 1211263"/>
                  <a:gd name="connsiteX53" fmla="*/ 1153708 w 1304394"/>
                  <a:gd name="connsiteY53" fmla="*/ 263525 h 1211263"/>
                  <a:gd name="connsiteX54" fmla="*/ 1154422 w 1304394"/>
                  <a:gd name="connsiteY54" fmla="*/ 263525 h 1211263"/>
                  <a:gd name="connsiteX55" fmla="*/ 1282861 w 1304394"/>
                  <a:gd name="connsiteY55" fmla="*/ 363479 h 1211263"/>
                  <a:gd name="connsiteX56" fmla="*/ 919663 w 1304394"/>
                  <a:gd name="connsiteY56" fmla="*/ 832548 h 1211263"/>
                  <a:gd name="connsiteX57" fmla="*/ 915381 w 1304394"/>
                  <a:gd name="connsiteY57" fmla="*/ 836832 h 1211263"/>
                  <a:gd name="connsiteX58" fmla="*/ 757686 w 1304394"/>
                  <a:gd name="connsiteY58" fmla="*/ 931788 h 1211263"/>
                  <a:gd name="connsiteX59" fmla="*/ 736993 w 1304394"/>
                  <a:gd name="connsiteY59" fmla="*/ 916081 h 1211263"/>
                  <a:gd name="connsiteX60" fmla="*/ 786228 w 1304394"/>
                  <a:gd name="connsiteY60" fmla="*/ 741162 h 1211263"/>
                  <a:gd name="connsiteX61" fmla="*/ 789082 w 1304394"/>
                  <a:gd name="connsiteY61" fmla="*/ 735450 h 1211263"/>
                  <a:gd name="connsiteX62" fmla="*/ 1153708 w 1304394"/>
                  <a:gd name="connsiteY62" fmla="*/ 263525 h 1211263"/>
                  <a:gd name="connsiteX63" fmla="*/ 1247671 w 1304394"/>
                  <a:gd name="connsiteY63" fmla="*/ 224408 h 1211263"/>
                  <a:gd name="connsiteX64" fmla="*/ 1301391 w 1304394"/>
                  <a:gd name="connsiteY64" fmla="*/ 265410 h 1211263"/>
                  <a:gd name="connsiteX65" fmla="*/ 1303512 w 1304394"/>
                  <a:gd name="connsiteY65" fmla="*/ 274042 h 1211263"/>
                  <a:gd name="connsiteX66" fmla="*/ 1271703 w 1304394"/>
                  <a:gd name="connsiteY66" fmla="*/ 314325 h 1211263"/>
                  <a:gd name="connsiteX67" fmla="*/ 1208087 w 1304394"/>
                  <a:gd name="connsiteY67" fmla="*/ 265410 h 1211263"/>
                  <a:gd name="connsiteX68" fmla="*/ 1239189 w 1304394"/>
                  <a:gd name="connsiteY68" fmla="*/ 225127 h 1211263"/>
                  <a:gd name="connsiteX69" fmla="*/ 1247671 w 1304394"/>
                  <a:gd name="connsiteY69" fmla="*/ 224408 h 1211263"/>
                  <a:gd name="connsiteX70" fmla="*/ 32852 w 1304394"/>
                  <a:gd name="connsiteY70" fmla="*/ 0 h 1211263"/>
                  <a:gd name="connsiteX71" fmla="*/ 857736 w 1304394"/>
                  <a:gd name="connsiteY71" fmla="*/ 0 h 1211263"/>
                  <a:gd name="connsiteX72" fmla="*/ 890588 w 1304394"/>
                  <a:gd name="connsiteY72" fmla="*/ 32814 h 1211263"/>
                  <a:gd name="connsiteX73" fmla="*/ 890588 w 1304394"/>
                  <a:gd name="connsiteY73" fmla="*/ 552131 h 1211263"/>
                  <a:gd name="connsiteX74" fmla="*/ 857736 w 1304394"/>
                  <a:gd name="connsiteY74" fmla="*/ 594931 h 1211263"/>
                  <a:gd name="connsiteX75" fmla="*/ 857736 w 1304394"/>
                  <a:gd name="connsiteY75" fmla="*/ 32814 h 1211263"/>
                  <a:gd name="connsiteX76" fmla="*/ 32852 w 1304394"/>
                  <a:gd name="connsiteY76" fmla="*/ 32814 h 1211263"/>
                  <a:gd name="connsiteX77" fmla="*/ 32852 w 1304394"/>
                  <a:gd name="connsiteY77" fmla="*/ 1178449 h 1211263"/>
                  <a:gd name="connsiteX78" fmla="*/ 857736 w 1304394"/>
                  <a:gd name="connsiteY78" fmla="*/ 1178449 h 1211263"/>
                  <a:gd name="connsiteX79" fmla="*/ 857736 w 1304394"/>
                  <a:gd name="connsiteY79" fmla="*/ 919504 h 1211263"/>
                  <a:gd name="connsiteX80" fmla="*/ 890588 w 1304394"/>
                  <a:gd name="connsiteY80" fmla="*/ 898104 h 1211263"/>
                  <a:gd name="connsiteX81" fmla="*/ 890588 w 1304394"/>
                  <a:gd name="connsiteY81" fmla="*/ 1178449 h 1211263"/>
                  <a:gd name="connsiteX82" fmla="*/ 857736 w 1304394"/>
                  <a:gd name="connsiteY82" fmla="*/ 1211263 h 1211263"/>
                  <a:gd name="connsiteX83" fmla="*/ 32852 w 1304394"/>
                  <a:gd name="connsiteY83" fmla="*/ 1211263 h 1211263"/>
                  <a:gd name="connsiteX84" fmla="*/ 0 w 1304394"/>
                  <a:gd name="connsiteY84" fmla="*/ 1178449 h 1211263"/>
                  <a:gd name="connsiteX85" fmla="*/ 0 w 1304394"/>
                  <a:gd name="connsiteY85" fmla="*/ 32814 h 1211263"/>
                  <a:gd name="connsiteX86" fmla="*/ 32852 w 1304394"/>
                  <a:gd name="connsiteY86" fmla="*/ 0 h 1211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304394" h="1211263">
                    <a:moveTo>
                      <a:pt x="170429" y="1060450"/>
                    </a:moveTo>
                    <a:cubicBezTo>
                      <a:pt x="720158" y="1060450"/>
                      <a:pt x="720158" y="1060450"/>
                      <a:pt x="720158" y="1060450"/>
                    </a:cubicBezTo>
                    <a:cubicBezTo>
                      <a:pt x="729451" y="1060450"/>
                      <a:pt x="736600" y="1067859"/>
                      <a:pt x="736600" y="1077490"/>
                    </a:cubicBezTo>
                    <a:cubicBezTo>
                      <a:pt x="736600" y="1086380"/>
                      <a:pt x="729451" y="1093788"/>
                      <a:pt x="720158" y="1093788"/>
                    </a:cubicBezTo>
                    <a:cubicBezTo>
                      <a:pt x="170429" y="1093788"/>
                      <a:pt x="170429" y="1093788"/>
                      <a:pt x="170429" y="1093788"/>
                    </a:cubicBezTo>
                    <a:cubicBezTo>
                      <a:pt x="161135" y="1093788"/>
                      <a:pt x="153987" y="1086380"/>
                      <a:pt x="153987" y="1077490"/>
                    </a:cubicBezTo>
                    <a:cubicBezTo>
                      <a:pt x="153987" y="1067859"/>
                      <a:pt x="161135" y="1060450"/>
                      <a:pt x="170429" y="1060450"/>
                    </a:cubicBezTo>
                    <a:close/>
                    <a:moveTo>
                      <a:pt x="420158" y="900113"/>
                    </a:moveTo>
                    <a:cubicBezTo>
                      <a:pt x="427278" y="932046"/>
                      <a:pt x="427278" y="932046"/>
                      <a:pt x="427278" y="932046"/>
                    </a:cubicBezTo>
                    <a:cubicBezTo>
                      <a:pt x="433686" y="959722"/>
                      <a:pt x="446503" y="988106"/>
                      <a:pt x="465015" y="1014362"/>
                    </a:cubicBezTo>
                    <a:cubicBezTo>
                      <a:pt x="469287" y="1009395"/>
                      <a:pt x="473559" y="1004428"/>
                      <a:pt x="477831" y="998751"/>
                    </a:cubicBezTo>
                    <a:cubicBezTo>
                      <a:pt x="484240" y="991654"/>
                      <a:pt x="489936" y="985268"/>
                      <a:pt x="495632" y="978172"/>
                    </a:cubicBezTo>
                    <a:cubicBezTo>
                      <a:pt x="496344" y="976752"/>
                      <a:pt x="496344" y="976752"/>
                      <a:pt x="496344" y="976752"/>
                    </a:cubicBezTo>
                    <a:cubicBezTo>
                      <a:pt x="497056" y="976752"/>
                      <a:pt x="497768" y="976043"/>
                      <a:pt x="497768" y="975333"/>
                    </a:cubicBezTo>
                    <a:cubicBezTo>
                      <a:pt x="500616" y="972495"/>
                      <a:pt x="504888" y="968237"/>
                      <a:pt x="511296" y="966108"/>
                    </a:cubicBezTo>
                    <a:cubicBezTo>
                      <a:pt x="512008" y="965398"/>
                      <a:pt x="512008" y="965398"/>
                      <a:pt x="512008" y="965398"/>
                    </a:cubicBezTo>
                    <a:cubicBezTo>
                      <a:pt x="513433" y="965398"/>
                      <a:pt x="513433" y="965398"/>
                      <a:pt x="513433" y="965398"/>
                    </a:cubicBezTo>
                    <a:cubicBezTo>
                      <a:pt x="528385" y="961850"/>
                      <a:pt x="539777" y="971075"/>
                      <a:pt x="546897" y="976752"/>
                    </a:cubicBezTo>
                    <a:cubicBezTo>
                      <a:pt x="548322" y="978172"/>
                      <a:pt x="549746" y="979591"/>
                      <a:pt x="551170" y="980301"/>
                    </a:cubicBezTo>
                    <a:cubicBezTo>
                      <a:pt x="563274" y="988816"/>
                      <a:pt x="584635" y="977462"/>
                      <a:pt x="598875" y="965398"/>
                    </a:cubicBezTo>
                    <a:cubicBezTo>
                      <a:pt x="600299" y="963979"/>
                      <a:pt x="601723" y="962560"/>
                      <a:pt x="603147" y="961141"/>
                    </a:cubicBezTo>
                    <a:cubicBezTo>
                      <a:pt x="622372" y="944110"/>
                      <a:pt x="645868" y="922821"/>
                      <a:pt x="676485" y="927789"/>
                    </a:cubicBezTo>
                    <a:cubicBezTo>
                      <a:pt x="685742" y="929208"/>
                      <a:pt x="692150" y="937723"/>
                      <a:pt x="690726" y="946948"/>
                    </a:cubicBezTo>
                    <a:cubicBezTo>
                      <a:pt x="689302" y="956173"/>
                      <a:pt x="680757" y="962560"/>
                      <a:pt x="671501" y="961141"/>
                    </a:cubicBezTo>
                    <a:cubicBezTo>
                      <a:pt x="656549" y="958302"/>
                      <a:pt x="640884" y="972495"/>
                      <a:pt x="625220" y="985978"/>
                    </a:cubicBezTo>
                    <a:cubicBezTo>
                      <a:pt x="623796" y="987397"/>
                      <a:pt x="622372" y="988816"/>
                      <a:pt x="620948" y="990235"/>
                    </a:cubicBezTo>
                    <a:cubicBezTo>
                      <a:pt x="588907" y="1017911"/>
                      <a:pt x="555442" y="1025007"/>
                      <a:pt x="531945" y="1007976"/>
                    </a:cubicBezTo>
                    <a:cubicBezTo>
                      <a:pt x="529097" y="1005847"/>
                      <a:pt x="526961" y="1004428"/>
                      <a:pt x="524825" y="1002299"/>
                    </a:cubicBezTo>
                    <a:cubicBezTo>
                      <a:pt x="524113" y="1001589"/>
                      <a:pt x="522689" y="1000170"/>
                      <a:pt x="521265" y="999460"/>
                    </a:cubicBezTo>
                    <a:cubicBezTo>
                      <a:pt x="521265" y="999460"/>
                      <a:pt x="521265" y="1000170"/>
                      <a:pt x="520553" y="1000170"/>
                    </a:cubicBezTo>
                    <a:cubicBezTo>
                      <a:pt x="515569" y="1006557"/>
                      <a:pt x="509872" y="1013653"/>
                      <a:pt x="503464" y="1020749"/>
                    </a:cubicBezTo>
                    <a:cubicBezTo>
                      <a:pt x="498480" y="1027136"/>
                      <a:pt x="492784" y="1033522"/>
                      <a:pt x="487088" y="1040618"/>
                    </a:cubicBezTo>
                    <a:cubicBezTo>
                      <a:pt x="484952" y="1043457"/>
                      <a:pt x="479255" y="1049844"/>
                      <a:pt x="469287" y="1051972"/>
                    </a:cubicBezTo>
                    <a:lnTo>
                      <a:pt x="467151" y="1052682"/>
                    </a:lnTo>
                    <a:cubicBezTo>
                      <a:pt x="465727" y="1052682"/>
                      <a:pt x="465727" y="1052682"/>
                      <a:pt x="465727" y="1052682"/>
                    </a:cubicBezTo>
                    <a:cubicBezTo>
                      <a:pt x="454335" y="1052682"/>
                      <a:pt x="447927" y="1045586"/>
                      <a:pt x="444366" y="1042038"/>
                    </a:cubicBezTo>
                    <a:cubicBezTo>
                      <a:pt x="442230" y="1039909"/>
                      <a:pt x="442230" y="1039909"/>
                      <a:pt x="442230" y="1039909"/>
                    </a:cubicBezTo>
                    <a:cubicBezTo>
                      <a:pt x="441518" y="1039199"/>
                      <a:pt x="441518" y="1039199"/>
                      <a:pt x="441518" y="1039199"/>
                    </a:cubicBezTo>
                    <a:cubicBezTo>
                      <a:pt x="425142" y="1016491"/>
                      <a:pt x="412326" y="992364"/>
                      <a:pt x="403069" y="968237"/>
                    </a:cubicBezTo>
                    <a:cubicBezTo>
                      <a:pt x="374588" y="997331"/>
                      <a:pt x="344684" y="1024297"/>
                      <a:pt x="313355" y="1048424"/>
                    </a:cubicBezTo>
                    <a:cubicBezTo>
                      <a:pt x="305522" y="1054101"/>
                      <a:pt x="295554" y="1052682"/>
                      <a:pt x="289858" y="1045586"/>
                    </a:cubicBezTo>
                    <a:cubicBezTo>
                      <a:pt x="284162" y="1037780"/>
                      <a:pt x="285586" y="1027136"/>
                      <a:pt x="292706" y="1021459"/>
                    </a:cubicBezTo>
                    <a:cubicBezTo>
                      <a:pt x="329731" y="993074"/>
                      <a:pt x="365332" y="960431"/>
                      <a:pt x="398797" y="924240"/>
                    </a:cubicBezTo>
                    <a:cubicBezTo>
                      <a:pt x="420158" y="900113"/>
                      <a:pt x="420158" y="900113"/>
                      <a:pt x="420158" y="900113"/>
                    </a:cubicBezTo>
                    <a:close/>
                    <a:moveTo>
                      <a:pt x="817172" y="759388"/>
                    </a:moveTo>
                    <a:cubicBezTo>
                      <a:pt x="812814" y="760634"/>
                      <a:pt x="809078" y="763837"/>
                      <a:pt x="807654" y="768465"/>
                    </a:cubicBezTo>
                    <a:cubicBezTo>
                      <a:pt x="807654" y="768465"/>
                      <a:pt x="807654" y="768465"/>
                      <a:pt x="771361" y="873829"/>
                    </a:cubicBezTo>
                    <a:cubicBezTo>
                      <a:pt x="769937" y="879525"/>
                      <a:pt x="771361" y="885932"/>
                      <a:pt x="776342" y="890204"/>
                    </a:cubicBezTo>
                    <a:cubicBezTo>
                      <a:pt x="781323" y="893763"/>
                      <a:pt x="788440" y="893763"/>
                      <a:pt x="793421" y="890204"/>
                    </a:cubicBezTo>
                    <a:cubicBezTo>
                      <a:pt x="793421" y="890204"/>
                      <a:pt x="793421" y="890204"/>
                      <a:pt x="885223" y="828978"/>
                    </a:cubicBezTo>
                    <a:cubicBezTo>
                      <a:pt x="893051" y="823283"/>
                      <a:pt x="893762" y="811180"/>
                      <a:pt x="885934" y="805485"/>
                    </a:cubicBezTo>
                    <a:cubicBezTo>
                      <a:pt x="885934" y="805485"/>
                      <a:pt x="885934" y="805485"/>
                      <a:pt x="830426" y="762058"/>
                    </a:cubicBezTo>
                    <a:cubicBezTo>
                      <a:pt x="826512" y="758854"/>
                      <a:pt x="821531" y="758142"/>
                      <a:pt x="817172" y="759388"/>
                    </a:cubicBezTo>
                    <a:close/>
                    <a:moveTo>
                      <a:pt x="1153708" y="263525"/>
                    </a:moveTo>
                    <a:cubicBezTo>
                      <a:pt x="1153708" y="263525"/>
                      <a:pt x="1153708" y="263525"/>
                      <a:pt x="1154422" y="263525"/>
                    </a:cubicBezTo>
                    <a:cubicBezTo>
                      <a:pt x="1154422" y="263525"/>
                      <a:pt x="1263595" y="347772"/>
                      <a:pt x="1282861" y="363479"/>
                    </a:cubicBezTo>
                    <a:cubicBezTo>
                      <a:pt x="1282861" y="363479"/>
                      <a:pt x="1282861" y="363479"/>
                      <a:pt x="919663" y="832548"/>
                    </a:cubicBezTo>
                    <a:cubicBezTo>
                      <a:pt x="918949" y="833976"/>
                      <a:pt x="917522" y="835404"/>
                      <a:pt x="915381" y="836832"/>
                    </a:cubicBezTo>
                    <a:cubicBezTo>
                      <a:pt x="915381" y="836832"/>
                      <a:pt x="915381" y="836832"/>
                      <a:pt x="757686" y="931788"/>
                    </a:cubicBezTo>
                    <a:cubicBezTo>
                      <a:pt x="746983" y="938213"/>
                      <a:pt x="733425" y="928218"/>
                      <a:pt x="736993" y="916081"/>
                    </a:cubicBezTo>
                    <a:cubicBezTo>
                      <a:pt x="736993" y="916081"/>
                      <a:pt x="736993" y="916081"/>
                      <a:pt x="786228" y="741162"/>
                    </a:cubicBezTo>
                    <a:cubicBezTo>
                      <a:pt x="786942" y="739020"/>
                      <a:pt x="787655" y="737592"/>
                      <a:pt x="789082" y="735450"/>
                    </a:cubicBezTo>
                    <a:cubicBezTo>
                      <a:pt x="789082" y="735450"/>
                      <a:pt x="789082" y="735450"/>
                      <a:pt x="1153708" y="263525"/>
                    </a:cubicBezTo>
                    <a:close/>
                    <a:moveTo>
                      <a:pt x="1247671" y="224408"/>
                    </a:moveTo>
                    <a:cubicBezTo>
                      <a:pt x="1247671" y="224408"/>
                      <a:pt x="1247671" y="224408"/>
                      <a:pt x="1301391" y="265410"/>
                    </a:cubicBezTo>
                    <a:cubicBezTo>
                      <a:pt x="1304925" y="267568"/>
                      <a:pt x="1304925" y="271165"/>
                      <a:pt x="1303512" y="274042"/>
                    </a:cubicBezTo>
                    <a:cubicBezTo>
                      <a:pt x="1303512" y="274042"/>
                      <a:pt x="1303512" y="274042"/>
                      <a:pt x="1271703" y="314325"/>
                    </a:cubicBezTo>
                    <a:cubicBezTo>
                      <a:pt x="1271703" y="314325"/>
                      <a:pt x="1271703" y="314325"/>
                      <a:pt x="1208087" y="265410"/>
                    </a:cubicBezTo>
                    <a:cubicBezTo>
                      <a:pt x="1208087" y="265410"/>
                      <a:pt x="1208087" y="265410"/>
                      <a:pt x="1239189" y="225127"/>
                    </a:cubicBezTo>
                    <a:cubicBezTo>
                      <a:pt x="1240602" y="222250"/>
                      <a:pt x="1245550" y="222250"/>
                      <a:pt x="1247671" y="224408"/>
                    </a:cubicBezTo>
                    <a:close/>
                    <a:moveTo>
                      <a:pt x="32852" y="0"/>
                    </a:moveTo>
                    <a:cubicBezTo>
                      <a:pt x="32852" y="0"/>
                      <a:pt x="32852" y="0"/>
                      <a:pt x="857736" y="0"/>
                    </a:cubicBezTo>
                    <a:cubicBezTo>
                      <a:pt x="875590" y="0"/>
                      <a:pt x="890588" y="14980"/>
                      <a:pt x="890588" y="32814"/>
                    </a:cubicBezTo>
                    <a:cubicBezTo>
                      <a:pt x="890588" y="32814"/>
                      <a:pt x="890588" y="32814"/>
                      <a:pt x="890588" y="552131"/>
                    </a:cubicBezTo>
                    <a:cubicBezTo>
                      <a:pt x="890588" y="552131"/>
                      <a:pt x="890588" y="552131"/>
                      <a:pt x="857736" y="594931"/>
                    </a:cubicBezTo>
                    <a:cubicBezTo>
                      <a:pt x="857736" y="594931"/>
                      <a:pt x="857736" y="594931"/>
                      <a:pt x="857736" y="32814"/>
                    </a:cubicBezTo>
                    <a:cubicBezTo>
                      <a:pt x="857736" y="32814"/>
                      <a:pt x="857736" y="32814"/>
                      <a:pt x="32852" y="32814"/>
                    </a:cubicBezTo>
                    <a:cubicBezTo>
                      <a:pt x="32852" y="32814"/>
                      <a:pt x="32852" y="32814"/>
                      <a:pt x="32852" y="1178449"/>
                    </a:cubicBezTo>
                    <a:cubicBezTo>
                      <a:pt x="32852" y="1178449"/>
                      <a:pt x="32852" y="1178449"/>
                      <a:pt x="857736" y="1178449"/>
                    </a:cubicBezTo>
                    <a:cubicBezTo>
                      <a:pt x="857736" y="1178449"/>
                      <a:pt x="857736" y="1178449"/>
                      <a:pt x="857736" y="919504"/>
                    </a:cubicBezTo>
                    <a:cubicBezTo>
                      <a:pt x="857736" y="919504"/>
                      <a:pt x="857736" y="919504"/>
                      <a:pt x="890588" y="898104"/>
                    </a:cubicBezTo>
                    <a:cubicBezTo>
                      <a:pt x="890588" y="898104"/>
                      <a:pt x="890588" y="898104"/>
                      <a:pt x="890588" y="1178449"/>
                    </a:cubicBezTo>
                    <a:cubicBezTo>
                      <a:pt x="890588" y="1196283"/>
                      <a:pt x="875590" y="1211263"/>
                      <a:pt x="857736" y="1211263"/>
                    </a:cubicBezTo>
                    <a:cubicBezTo>
                      <a:pt x="857736" y="1211263"/>
                      <a:pt x="857736" y="1211263"/>
                      <a:pt x="32852" y="1211263"/>
                    </a:cubicBezTo>
                    <a:cubicBezTo>
                      <a:pt x="14998" y="1211263"/>
                      <a:pt x="0" y="1196283"/>
                      <a:pt x="0" y="1178449"/>
                    </a:cubicBezTo>
                    <a:cubicBezTo>
                      <a:pt x="0" y="1178449"/>
                      <a:pt x="0" y="1178449"/>
                      <a:pt x="0" y="32814"/>
                    </a:cubicBezTo>
                    <a:cubicBezTo>
                      <a:pt x="0" y="14980"/>
                      <a:pt x="14998" y="0"/>
                      <a:pt x="32852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5" name="ee4pContent2"/>
          <p:cNvSpPr txBox="1"/>
          <p:nvPr/>
        </p:nvSpPr>
        <p:spPr>
          <a:xfrm>
            <a:off x="3160964" y="5506126"/>
            <a:ext cx="3720165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Lead </a:t>
            </a:r>
            <a:r>
              <a:rPr lang="en-US" sz="1200" dirty="0" err="1">
                <a:solidFill>
                  <a:srgbClr val="7F7F7F">
                    <a:lumMod val="100000"/>
                  </a:srgbClr>
                </a:solidFill>
              </a:rPr>
              <a:t>PMRs</a:t>
            </a:r>
            <a:endParaRPr lang="en-US" sz="1200" dirty="0">
              <a:solidFill>
                <a:srgbClr val="7F7F7F">
                  <a:lumMod val="100000"/>
                </a:srgbClr>
              </a:solidFill>
            </a:endParaRP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rgbClr val="7F7F7F">
                    <a:lumMod val="100000"/>
                  </a:srgbClr>
                </a:solidFill>
              </a:rPr>
              <a:t>Share lessons learned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08523" y="5506124"/>
            <a:ext cx="1793641" cy="73866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Supplier Performance</a:t>
            </a:r>
          </a:p>
        </p:txBody>
      </p:sp>
      <p:cxnSp>
        <p:nvCxnSpPr>
          <p:cNvPr id="87" name="Straight Connector 86"/>
          <p:cNvCxnSpPr/>
          <p:nvPr/>
        </p:nvCxnSpPr>
        <p:spPr>
          <a:xfrm>
            <a:off x="2881564" y="5506126"/>
            <a:ext cx="0" cy="738664"/>
          </a:xfrm>
          <a:prstGeom prst="line">
            <a:avLst/>
          </a:prstGeom>
          <a:ln w="3175">
            <a:solidFill>
              <a:srgbClr val="7F7F7F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/>
          <p:cNvGrpSpPr>
            <a:grpSpLocks noChangeAspect="1"/>
          </p:cNvGrpSpPr>
          <p:nvPr/>
        </p:nvGrpSpPr>
        <p:grpSpPr>
          <a:xfrm>
            <a:off x="2171910" y="5699921"/>
            <a:ext cx="501598" cy="502063"/>
            <a:chOff x="5273802" y="2606040"/>
            <a:chExt cx="1644396" cy="1645920"/>
          </a:xfrm>
        </p:grpSpPr>
        <p:sp>
          <p:nvSpPr>
            <p:cNvPr id="90" name="AutoShape 137"/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5542026" y="2758059"/>
              <a:ext cx="1106424" cy="1305306"/>
              <a:chOff x="5542026" y="2758059"/>
              <a:chExt cx="1106424" cy="1305306"/>
            </a:xfrm>
          </p:grpSpPr>
          <p:sp>
            <p:nvSpPr>
              <p:cNvPr id="92" name="Freeform 139"/>
              <p:cNvSpPr>
                <a:spLocks/>
              </p:cNvSpPr>
              <p:nvPr/>
            </p:nvSpPr>
            <p:spPr bwMode="auto">
              <a:xfrm>
                <a:off x="5970270" y="2758059"/>
                <a:ext cx="249936" cy="250317"/>
              </a:xfrm>
              <a:custGeom>
                <a:avLst/>
                <a:gdLst>
                  <a:gd name="T0" fmla="*/ 326 w 656"/>
                  <a:gd name="T1" fmla="*/ 0 h 657"/>
                  <a:gd name="T2" fmla="*/ 429 w 656"/>
                  <a:gd name="T3" fmla="*/ 220 h 657"/>
                  <a:gd name="T4" fmla="*/ 656 w 656"/>
                  <a:gd name="T5" fmla="*/ 255 h 657"/>
                  <a:gd name="T6" fmla="*/ 493 w 656"/>
                  <a:gd name="T7" fmla="*/ 417 h 657"/>
                  <a:gd name="T8" fmla="*/ 534 w 656"/>
                  <a:gd name="T9" fmla="*/ 657 h 657"/>
                  <a:gd name="T10" fmla="*/ 326 w 656"/>
                  <a:gd name="T11" fmla="*/ 540 h 657"/>
                  <a:gd name="T12" fmla="*/ 126 w 656"/>
                  <a:gd name="T13" fmla="*/ 657 h 657"/>
                  <a:gd name="T14" fmla="*/ 163 w 656"/>
                  <a:gd name="T15" fmla="*/ 417 h 657"/>
                  <a:gd name="T16" fmla="*/ 0 w 656"/>
                  <a:gd name="T17" fmla="*/ 255 h 657"/>
                  <a:gd name="T18" fmla="*/ 227 w 656"/>
                  <a:gd name="T19" fmla="*/ 220 h 657"/>
                  <a:gd name="T20" fmla="*/ 326 w 656"/>
                  <a:gd name="T21" fmla="*/ 0 h 657"/>
                  <a:gd name="T22" fmla="*/ 326 w 656"/>
                  <a:gd name="T23" fmla="*/ 0 h 657"/>
                  <a:gd name="T24" fmla="*/ 326 w 656"/>
                  <a:gd name="T25" fmla="*/ 0 h 657"/>
                  <a:gd name="T26" fmla="*/ 326 w 656"/>
                  <a:gd name="T27" fmla="*/ 0 h 657"/>
                  <a:gd name="T28" fmla="*/ 326 w 656"/>
                  <a:gd name="T29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6" h="657">
                    <a:moveTo>
                      <a:pt x="326" y="0"/>
                    </a:moveTo>
                    <a:lnTo>
                      <a:pt x="429" y="220"/>
                    </a:lnTo>
                    <a:lnTo>
                      <a:pt x="656" y="255"/>
                    </a:lnTo>
                    <a:lnTo>
                      <a:pt x="493" y="417"/>
                    </a:lnTo>
                    <a:lnTo>
                      <a:pt x="534" y="657"/>
                    </a:lnTo>
                    <a:lnTo>
                      <a:pt x="326" y="540"/>
                    </a:lnTo>
                    <a:lnTo>
                      <a:pt x="126" y="657"/>
                    </a:lnTo>
                    <a:lnTo>
                      <a:pt x="163" y="417"/>
                    </a:lnTo>
                    <a:lnTo>
                      <a:pt x="0" y="255"/>
                    </a:lnTo>
                    <a:lnTo>
                      <a:pt x="227" y="220"/>
                    </a:lnTo>
                    <a:lnTo>
                      <a:pt x="326" y="0"/>
                    </a:lnTo>
                    <a:lnTo>
                      <a:pt x="326" y="0"/>
                    </a:lnTo>
                    <a:lnTo>
                      <a:pt x="326" y="0"/>
                    </a:lnTo>
                    <a:lnTo>
                      <a:pt x="326" y="0"/>
                    </a:lnTo>
                    <a:lnTo>
                      <a:pt x="326" y="0"/>
                    </a:ln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140"/>
              <p:cNvSpPr>
                <a:spLocks/>
              </p:cNvSpPr>
              <p:nvPr/>
            </p:nvSpPr>
            <p:spPr bwMode="auto">
              <a:xfrm>
                <a:off x="5684901" y="2883408"/>
                <a:ext cx="196215" cy="187833"/>
              </a:xfrm>
              <a:custGeom>
                <a:avLst/>
                <a:gdLst>
                  <a:gd name="T0" fmla="*/ 255 w 515"/>
                  <a:gd name="T1" fmla="*/ 0 h 493"/>
                  <a:gd name="T2" fmla="*/ 337 w 515"/>
                  <a:gd name="T3" fmla="*/ 166 h 493"/>
                  <a:gd name="T4" fmla="*/ 515 w 515"/>
                  <a:gd name="T5" fmla="*/ 185 h 493"/>
                  <a:gd name="T6" fmla="*/ 386 w 515"/>
                  <a:gd name="T7" fmla="*/ 313 h 493"/>
                  <a:gd name="T8" fmla="*/ 412 w 515"/>
                  <a:gd name="T9" fmla="*/ 493 h 493"/>
                  <a:gd name="T10" fmla="*/ 255 w 515"/>
                  <a:gd name="T11" fmla="*/ 403 h 493"/>
                  <a:gd name="T12" fmla="*/ 101 w 515"/>
                  <a:gd name="T13" fmla="*/ 493 h 493"/>
                  <a:gd name="T14" fmla="*/ 129 w 515"/>
                  <a:gd name="T15" fmla="*/ 313 h 493"/>
                  <a:gd name="T16" fmla="*/ 0 w 515"/>
                  <a:gd name="T17" fmla="*/ 185 h 493"/>
                  <a:gd name="T18" fmla="*/ 176 w 515"/>
                  <a:gd name="T19" fmla="*/ 166 h 493"/>
                  <a:gd name="T20" fmla="*/ 255 w 515"/>
                  <a:gd name="T21" fmla="*/ 0 h 493"/>
                  <a:gd name="T22" fmla="*/ 255 w 515"/>
                  <a:gd name="T23" fmla="*/ 0 h 493"/>
                  <a:gd name="T24" fmla="*/ 255 w 515"/>
                  <a:gd name="T25" fmla="*/ 0 h 493"/>
                  <a:gd name="T26" fmla="*/ 255 w 515"/>
                  <a:gd name="T27" fmla="*/ 0 h 493"/>
                  <a:gd name="T28" fmla="*/ 255 w 515"/>
                  <a:gd name="T29" fmla="*/ 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493">
                    <a:moveTo>
                      <a:pt x="255" y="0"/>
                    </a:moveTo>
                    <a:lnTo>
                      <a:pt x="337" y="166"/>
                    </a:lnTo>
                    <a:lnTo>
                      <a:pt x="515" y="185"/>
                    </a:lnTo>
                    <a:lnTo>
                      <a:pt x="386" y="313"/>
                    </a:lnTo>
                    <a:lnTo>
                      <a:pt x="412" y="493"/>
                    </a:lnTo>
                    <a:lnTo>
                      <a:pt x="255" y="403"/>
                    </a:lnTo>
                    <a:lnTo>
                      <a:pt x="101" y="493"/>
                    </a:lnTo>
                    <a:lnTo>
                      <a:pt x="129" y="313"/>
                    </a:lnTo>
                    <a:lnTo>
                      <a:pt x="0" y="185"/>
                    </a:lnTo>
                    <a:lnTo>
                      <a:pt x="176" y="166"/>
                    </a:lnTo>
                    <a:lnTo>
                      <a:pt x="255" y="0"/>
                    </a:lnTo>
                    <a:lnTo>
                      <a:pt x="255" y="0"/>
                    </a:lnTo>
                    <a:lnTo>
                      <a:pt x="255" y="0"/>
                    </a:lnTo>
                    <a:lnTo>
                      <a:pt x="255" y="0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141"/>
              <p:cNvSpPr>
                <a:spLocks/>
              </p:cNvSpPr>
              <p:nvPr/>
            </p:nvSpPr>
            <p:spPr bwMode="auto">
              <a:xfrm>
                <a:off x="5542026" y="3079623"/>
                <a:ext cx="133731" cy="124968"/>
              </a:xfrm>
              <a:custGeom>
                <a:avLst/>
                <a:gdLst>
                  <a:gd name="T0" fmla="*/ 176 w 351"/>
                  <a:gd name="T1" fmla="*/ 0 h 328"/>
                  <a:gd name="T2" fmla="*/ 231 w 351"/>
                  <a:gd name="T3" fmla="*/ 111 h 328"/>
                  <a:gd name="T4" fmla="*/ 351 w 351"/>
                  <a:gd name="T5" fmla="*/ 130 h 328"/>
                  <a:gd name="T6" fmla="*/ 266 w 351"/>
                  <a:gd name="T7" fmla="*/ 212 h 328"/>
                  <a:gd name="T8" fmla="*/ 285 w 351"/>
                  <a:gd name="T9" fmla="*/ 328 h 328"/>
                  <a:gd name="T10" fmla="*/ 176 w 351"/>
                  <a:gd name="T11" fmla="*/ 272 h 328"/>
                  <a:gd name="T12" fmla="*/ 70 w 351"/>
                  <a:gd name="T13" fmla="*/ 328 h 328"/>
                  <a:gd name="T14" fmla="*/ 87 w 351"/>
                  <a:gd name="T15" fmla="*/ 212 h 328"/>
                  <a:gd name="T16" fmla="*/ 0 w 351"/>
                  <a:gd name="T17" fmla="*/ 130 h 328"/>
                  <a:gd name="T18" fmla="*/ 120 w 351"/>
                  <a:gd name="T19" fmla="*/ 111 h 328"/>
                  <a:gd name="T20" fmla="*/ 176 w 351"/>
                  <a:gd name="T21" fmla="*/ 0 h 328"/>
                  <a:gd name="T22" fmla="*/ 176 w 351"/>
                  <a:gd name="T23" fmla="*/ 0 h 328"/>
                  <a:gd name="T24" fmla="*/ 176 w 351"/>
                  <a:gd name="T25" fmla="*/ 0 h 328"/>
                  <a:gd name="T26" fmla="*/ 176 w 351"/>
                  <a:gd name="T27" fmla="*/ 0 h 328"/>
                  <a:gd name="T28" fmla="*/ 176 w 351"/>
                  <a:gd name="T29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1" h="328">
                    <a:moveTo>
                      <a:pt x="176" y="0"/>
                    </a:moveTo>
                    <a:lnTo>
                      <a:pt x="231" y="111"/>
                    </a:lnTo>
                    <a:lnTo>
                      <a:pt x="351" y="130"/>
                    </a:lnTo>
                    <a:lnTo>
                      <a:pt x="266" y="212"/>
                    </a:lnTo>
                    <a:lnTo>
                      <a:pt x="285" y="328"/>
                    </a:lnTo>
                    <a:lnTo>
                      <a:pt x="176" y="272"/>
                    </a:lnTo>
                    <a:lnTo>
                      <a:pt x="70" y="328"/>
                    </a:lnTo>
                    <a:lnTo>
                      <a:pt x="87" y="212"/>
                    </a:lnTo>
                    <a:lnTo>
                      <a:pt x="0" y="130"/>
                    </a:lnTo>
                    <a:lnTo>
                      <a:pt x="120" y="111"/>
                    </a:lnTo>
                    <a:lnTo>
                      <a:pt x="176" y="0"/>
                    </a:lnTo>
                    <a:lnTo>
                      <a:pt x="176" y="0"/>
                    </a:lnTo>
                    <a:lnTo>
                      <a:pt x="176" y="0"/>
                    </a:lnTo>
                    <a:lnTo>
                      <a:pt x="176" y="0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142"/>
              <p:cNvSpPr>
                <a:spLocks/>
              </p:cNvSpPr>
              <p:nvPr/>
            </p:nvSpPr>
            <p:spPr bwMode="auto">
              <a:xfrm>
                <a:off x="6515100" y="3079623"/>
                <a:ext cx="133350" cy="124968"/>
              </a:xfrm>
              <a:custGeom>
                <a:avLst/>
                <a:gdLst>
                  <a:gd name="T0" fmla="*/ 174 w 350"/>
                  <a:gd name="T1" fmla="*/ 0 h 328"/>
                  <a:gd name="T2" fmla="*/ 234 w 350"/>
                  <a:gd name="T3" fmla="*/ 111 h 328"/>
                  <a:gd name="T4" fmla="*/ 350 w 350"/>
                  <a:gd name="T5" fmla="*/ 130 h 328"/>
                  <a:gd name="T6" fmla="*/ 264 w 350"/>
                  <a:gd name="T7" fmla="*/ 212 h 328"/>
                  <a:gd name="T8" fmla="*/ 288 w 350"/>
                  <a:gd name="T9" fmla="*/ 328 h 328"/>
                  <a:gd name="T10" fmla="*/ 174 w 350"/>
                  <a:gd name="T11" fmla="*/ 272 h 328"/>
                  <a:gd name="T12" fmla="*/ 69 w 350"/>
                  <a:gd name="T13" fmla="*/ 328 h 328"/>
                  <a:gd name="T14" fmla="*/ 90 w 350"/>
                  <a:gd name="T15" fmla="*/ 212 h 328"/>
                  <a:gd name="T16" fmla="*/ 0 w 350"/>
                  <a:gd name="T17" fmla="*/ 130 h 328"/>
                  <a:gd name="T18" fmla="*/ 123 w 350"/>
                  <a:gd name="T19" fmla="*/ 111 h 328"/>
                  <a:gd name="T20" fmla="*/ 174 w 350"/>
                  <a:gd name="T21" fmla="*/ 0 h 328"/>
                  <a:gd name="T22" fmla="*/ 174 w 350"/>
                  <a:gd name="T23" fmla="*/ 0 h 328"/>
                  <a:gd name="T24" fmla="*/ 174 w 350"/>
                  <a:gd name="T25" fmla="*/ 0 h 328"/>
                  <a:gd name="T26" fmla="*/ 174 w 350"/>
                  <a:gd name="T27" fmla="*/ 0 h 328"/>
                  <a:gd name="T28" fmla="*/ 174 w 350"/>
                  <a:gd name="T29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0" h="328">
                    <a:moveTo>
                      <a:pt x="174" y="0"/>
                    </a:moveTo>
                    <a:lnTo>
                      <a:pt x="234" y="111"/>
                    </a:lnTo>
                    <a:lnTo>
                      <a:pt x="350" y="130"/>
                    </a:lnTo>
                    <a:lnTo>
                      <a:pt x="264" y="212"/>
                    </a:lnTo>
                    <a:lnTo>
                      <a:pt x="288" y="328"/>
                    </a:lnTo>
                    <a:lnTo>
                      <a:pt x="174" y="272"/>
                    </a:lnTo>
                    <a:lnTo>
                      <a:pt x="69" y="328"/>
                    </a:lnTo>
                    <a:lnTo>
                      <a:pt x="90" y="212"/>
                    </a:lnTo>
                    <a:lnTo>
                      <a:pt x="0" y="130"/>
                    </a:lnTo>
                    <a:lnTo>
                      <a:pt x="123" y="111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74" y="0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143"/>
              <p:cNvSpPr>
                <a:spLocks/>
              </p:cNvSpPr>
              <p:nvPr/>
            </p:nvSpPr>
            <p:spPr bwMode="auto">
              <a:xfrm>
                <a:off x="6309360" y="2883408"/>
                <a:ext cx="196215" cy="187833"/>
              </a:xfrm>
              <a:custGeom>
                <a:avLst/>
                <a:gdLst>
                  <a:gd name="T0" fmla="*/ 257 w 515"/>
                  <a:gd name="T1" fmla="*/ 0 h 493"/>
                  <a:gd name="T2" fmla="*/ 337 w 515"/>
                  <a:gd name="T3" fmla="*/ 166 h 493"/>
                  <a:gd name="T4" fmla="*/ 515 w 515"/>
                  <a:gd name="T5" fmla="*/ 185 h 493"/>
                  <a:gd name="T6" fmla="*/ 388 w 515"/>
                  <a:gd name="T7" fmla="*/ 313 h 493"/>
                  <a:gd name="T8" fmla="*/ 418 w 515"/>
                  <a:gd name="T9" fmla="*/ 493 h 493"/>
                  <a:gd name="T10" fmla="*/ 257 w 515"/>
                  <a:gd name="T11" fmla="*/ 403 h 493"/>
                  <a:gd name="T12" fmla="*/ 98 w 515"/>
                  <a:gd name="T13" fmla="*/ 493 h 493"/>
                  <a:gd name="T14" fmla="*/ 124 w 515"/>
                  <a:gd name="T15" fmla="*/ 313 h 493"/>
                  <a:gd name="T16" fmla="*/ 0 w 515"/>
                  <a:gd name="T17" fmla="*/ 185 h 493"/>
                  <a:gd name="T18" fmla="*/ 178 w 515"/>
                  <a:gd name="T19" fmla="*/ 166 h 493"/>
                  <a:gd name="T20" fmla="*/ 257 w 515"/>
                  <a:gd name="T21" fmla="*/ 0 h 493"/>
                  <a:gd name="T22" fmla="*/ 257 w 515"/>
                  <a:gd name="T23" fmla="*/ 0 h 493"/>
                  <a:gd name="T24" fmla="*/ 257 w 515"/>
                  <a:gd name="T25" fmla="*/ 0 h 493"/>
                  <a:gd name="T26" fmla="*/ 257 w 515"/>
                  <a:gd name="T27" fmla="*/ 0 h 493"/>
                  <a:gd name="T28" fmla="*/ 257 w 515"/>
                  <a:gd name="T29" fmla="*/ 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15" h="493">
                    <a:moveTo>
                      <a:pt x="257" y="0"/>
                    </a:moveTo>
                    <a:lnTo>
                      <a:pt x="337" y="166"/>
                    </a:lnTo>
                    <a:lnTo>
                      <a:pt x="515" y="185"/>
                    </a:lnTo>
                    <a:lnTo>
                      <a:pt x="388" y="313"/>
                    </a:lnTo>
                    <a:lnTo>
                      <a:pt x="418" y="493"/>
                    </a:lnTo>
                    <a:lnTo>
                      <a:pt x="257" y="403"/>
                    </a:lnTo>
                    <a:lnTo>
                      <a:pt x="98" y="493"/>
                    </a:lnTo>
                    <a:lnTo>
                      <a:pt x="124" y="313"/>
                    </a:lnTo>
                    <a:lnTo>
                      <a:pt x="0" y="185"/>
                    </a:lnTo>
                    <a:lnTo>
                      <a:pt x="178" y="166"/>
                    </a:lnTo>
                    <a:lnTo>
                      <a:pt x="257" y="0"/>
                    </a:lnTo>
                    <a:lnTo>
                      <a:pt x="257" y="0"/>
                    </a:lnTo>
                    <a:lnTo>
                      <a:pt x="257" y="0"/>
                    </a:lnTo>
                    <a:lnTo>
                      <a:pt x="257" y="0"/>
                    </a:lnTo>
                    <a:lnTo>
                      <a:pt x="257" y="0"/>
                    </a:ln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144"/>
              <p:cNvSpPr>
                <a:spLocks/>
              </p:cNvSpPr>
              <p:nvPr/>
            </p:nvSpPr>
            <p:spPr bwMode="auto">
              <a:xfrm>
                <a:off x="5819013" y="3079623"/>
                <a:ext cx="553212" cy="422910"/>
              </a:xfrm>
              <a:custGeom>
                <a:avLst/>
                <a:gdLst>
                  <a:gd name="T0" fmla="*/ 773 w 775"/>
                  <a:gd name="T1" fmla="*/ 396 h 592"/>
                  <a:gd name="T2" fmla="*/ 387 w 775"/>
                  <a:gd name="T3" fmla="*/ 0 h 592"/>
                  <a:gd name="T4" fmla="*/ 1 w 775"/>
                  <a:gd name="T5" fmla="*/ 396 h 592"/>
                  <a:gd name="T6" fmla="*/ 16 w 775"/>
                  <a:gd name="T7" fmla="*/ 534 h 592"/>
                  <a:gd name="T8" fmla="*/ 16 w 775"/>
                  <a:gd name="T9" fmla="*/ 535 h 592"/>
                  <a:gd name="T10" fmla="*/ 54 w 775"/>
                  <a:gd name="T11" fmla="*/ 584 h 592"/>
                  <a:gd name="T12" fmla="*/ 80 w 775"/>
                  <a:gd name="T13" fmla="*/ 586 h 592"/>
                  <a:gd name="T14" fmla="*/ 175 w 775"/>
                  <a:gd name="T15" fmla="*/ 318 h 592"/>
                  <a:gd name="T16" fmla="*/ 684 w 775"/>
                  <a:gd name="T17" fmla="*/ 300 h 592"/>
                  <a:gd name="T18" fmla="*/ 688 w 775"/>
                  <a:gd name="T19" fmla="*/ 592 h 592"/>
                  <a:gd name="T20" fmla="*/ 716 w 775"/>
                  <a:gd name="T21" fmla="*/ 592 h 592"/>
                  <a:gd name="T22" fmla="*/ 760 w 775"/>
                  <a:gd name="T23" fmla="*/ 530 h 592"/>
                  <a:gd name="T24" fmla="*/ 760 w 775"/>
                  <a:gd name="T25" fmla="*/ 530 h 592"/>
                  <a:gd name="T26" fmla="*/ 773 w 775"/>
                  <a:gd name="T27" fmla="*/ 396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5" h="592">
                    <a:moveTo>
                      <a:pt x="773" y="396"/>
                    </a:moveTo>
                    <a:cubicBezTo>
                      <a:pt x="773" y="177"/>
                      <a:pt x="606" y="0"/>
                      <a:pt x="387" y="0"/>
                    </a:cubicBezTo>
                    <a:cubicBezTo>
                      <a:pt x="168" y="0"/>
                      <a:pt x="1" y="177"/>
                      <a:pt x="1" y="396"/>
                    </a:cubicBezTo>
                    <a:cubicBezTo>
                      <a:pt x="1" y="445"/>
                      <a:pt x="0" y="491"/>
                      <a:pt x="16" y="534"/>
                    </a:cubicBezTo>
                    <a:cubicBezTo>
                      <a:pt x="16" y="535"/>
                      <a:pt x="16" y="535"/>
                      <a:pt x="16" y="535"/>
                    </a:cubicBezTo>
                    <a:cubicBezTo>
                      <a:pt x="54" y="570"/>
                      <a:pt x="54" y="584"/>
                      <a:pt x="54" y="584"/>
                    </a:cubicBezTo>
                    <a:cubicBezTo>
                      <a:pt x="80" y="586"/>
                      <a:pt x="80" y="586"/>
                      <a:pt x="80" y="586"/>
                    </a:cubicBezTo>
                    <a:cubicBezTo>
                      <a:pt x="80" y="586"/>
                      <a:pt x="59" y="354"/>
                      <a:pt x="175" y="318"/>
                    </a:cubicBezTo>
                    <a:cubicBezTo>
                      <a:pt x="175" y="318"/>
                      <a:pt x="640" y="522"/>
                      <a:pt x="684" y="300"/>
                    </a:cubicBezTo>
                    <a:cubicBezTo>
                      <a:pt x="688" y="577"/>
                      <a:pt x="688" y="592"/>
                      <a:pt x="688" y="592"/>
                    </a:cubicBezTo>
                    <a:cubicBezTo>
                      <a:pt x="716" y="592"/>
                      <a:pt x="716" y="592"/>
                      <a:pt x="716" y="592"/>
                    </a:cubicBezTo>
                    <a:cubicBezTo>
                      <a:pt x="752" y="550"/>
                      <a:pt x="759" y="530"/>
                      <a:pt x="760" y="530"/>
                    </a:cubicBezTo>
                    <a:cubicBezTo>
                      <a:pt x="760" y="530"/>
                      <a:pt x="760" y="530"/>
                      <a:pt x="760" y="530"/>
                    </a:cubicBezTo>
                    <a:cubicBezTo>
                      <a:pt x="775" y="489"/>
                      <a:pt x="773" y="443"/>
                      <a:pt x="773" y="396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145"/>
              <p:cNvSpPr>
                <a:spLocks/>
              </p:cNvSpPr>
              <p:nvPr/>
            </p:nvSpPr>
            <p:spPr bwMode="auto">
              <a:xfrm>
                <a:off x="5567172" y="3821811"/>
                <a:ext cx="1056132" cy="241554"/>
              </a:xfrm>
              <a:custGeom>
                <a:avLst/>
                <a:gdLst>
                  <a:gd name="T0" fmla="*/ 1459 w 1480"/>
                  <a:gd name="T1" fmla="*/ 338 h 338"/>
                  <a:gd name="T2" fmla="*/ 1476 w 1480"/>
                  <a:gd name="T3" fmla="*/ 314 h 338"/>
                  <a:gd name="T4" fmla="*/ 1297 w 1480"/>
                  <a:gd name="T5" fmla="*/ 54 h 338"/>
                  <a:gd name="T6" fmla="*/ 979 w 1480"/>
                  <a:gd name="T7" fmla="*/ 0 h 338"/>
                  <a:gd name="T8" fmla="*/ 979 w 1480"/>
                  <a:gd name="T9" fmla="*/ 0 h 338"/>
                  <a:gd name="T10" fmla="*/ 736 w 1480"/>
                  <a:gd name="T11" fmla="*/ 114 h 338"/>
                  <a:gd name="T12" fmla="*/ 744 w 1480"/>
                  <a:gd name="T13" fmla="*/ 114 h 338"/>
                  <a:gd name="T14" fmla="*/ 501 w 1480"/>
                  <a:gd name="T15" fmla="*/ 0 h 338"/>
                  <a:gd name="T16" fmla="*/ 501 w 1480"/>
                  <a:gd name="T17" fmla="*/ 0 h 338"/>
                  <a:gd name="T18" fmla="*/ 183 w 1480"/>
                  <a:gd name="T19" fmla="*/ 54 h 338"/>
                  <a:gd name="T20" fmla="*/ 4 w 1480"/>
                  <a:gd name="T21" fmla="*/ 314 h 338"/>
                  <a:gd name="T22" fmla="*/ 21 w 1480"/>
                  <a:gd name="T23" fmla="*/ 338 h 338"/>
                  <a:gd name="T24" fmla="*/ 1459 w 1480"/>
                  <a:gd name="T25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0" h="338">
                    <a:moveTo>
                      <a:pt x="1459" y="338"/>
                    </a:moveTo>
                    <a:cubicBezTo>
                      <a:pt x="1471" y="338"/>
                      <a:pt x="1480" y="325"/>
                      <a:pt x="1476" y="314"/>
                    </a:cubicBezTo>
                    <a:cubicBezTo>
                      <a:pt x="1453" y="253"/>
                      <a:pt x="1387" y="95"/>
                      <a:pt x="1297" y="54"/>
                    </a:cubicBezTo>
                    <a:cubicBezTo>
                      <a:pt x="1186" y="2"/>
                      <a:pt x="979" y="0"/>
                      <a:pt x="979" y="0"/>
                    </a:cubicBezTo>
                    <a:cubicBezTo>
                      <a:pt x="979" y="0"/>
                      <a:pt x="979" y="0"/>
                      <a:pt x="979" y="0"/>
                    </a:cubicBezTo>
                    <a:cubicBezTo>
                      <a:pt x="979" y="0"/>
                      <a:pt x="898" y="114"/>
                      <a:pt x="736" y="114"/>
                    </a:cubicBezTo>
                    <a:cubicBezTo>
                      <a:pt x="744" y="114"/>
                      <a:pt x="744" y="114"/>
                      <a:pt x="744" y="114"/>
                    </a:cubicBezTo>
                    <a:cubicBezTo>
                      <a:pt x="582" y="114"/>
                      <a:pt x="501" y="0"/>
                      <a:pt x="501" y="0"/>
                    </a:cubicBezTo>
                    <a:cubicBezTo>
                      <a:pt x="501" y="0"/>
                      <a:pt x="501" y="0"/>
                      <a:pt x="501" y="0"/>
                    </a:cubicBezTo>
                    <a:cubicBezTo>
                      <a:pt x="501" y="0"/>
                      <a:pt x="294" y="2"/>
                      <a:pt x="183" y="54"/>
                    </a:cubicBezTo>
                    <a:cubicBezTo>
                      <a:pt x="93" y="95"/>
                      <a:pt x="27" y="253"/>
                      <a:pt x="4" y="314"/>
                    </a:cubicBezTo>
                    <a:cubicBezTo>
                      <a:pt x="0" y="325"/>
                      <a:pt x="9" y="338"/>
                      <a:pt x="21" y="338"/>
                    </a:cubicBezTo>
                    <a:lnTo>
                      <a:pt x="1459" y="338"/>
                    </a:ln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146"/>
              <p:cNvSpPr>
                <a:spLocks/>
              </p:cNvSpPr>
              <p:nvPr/>
            </p:nvSpPr>
            <p:spPr bwMode="auto">
              <a:xfrm>
                <a:off x="5813298" y="3499866"/>
                <a:ext cx="563880" cy="333375"/>
              </a:xfrm>
              <a:custGeom>
                <a:avLst/>
                <a:gdLst>
                  <a:gd name="T0" fmla="*/ 0 w 790"/>
                  <a:gd name="T1" fmla="*/ 0 h 467"/>
                  <a:gd name="T2" fmla="*/ 1 w 790"/>
                  <a:gd name="T3" fmla="*/ 7 h 467"/>
                  <a:gd name="T4" fmla="*/ 58 w 790"/>
                  <a:gd name="T5" fmla="*/ 97 h 467"/>
                  <a:gd name="T6" fmla="*/ 183 w 790"/>
                  <a:gd name="T7" fmla="*/ 352 h 467"/>
                  <a:gd name="T8" fmla="*/ 190 w 790"/>
                  <a:gd name="T9" fmla="*/ 358 h 467"/>
                  <a:gd name="T10" fmla="*/ 190 w 790"/>
                  <a:gd name="T11" fmla="*/ 424 h 467"/>
                  <a:gd name="T12" fmla="*/ 191 w 790"/>
                  <a:gd name="T13" fmla="*/ 425 h 467"/>
                  <a:gd name="T14" fmla="*/ 234 w 790"/>
                  <a:gd name="T15" fmla="*/ 467 h 467"/>
                  <a:gd name="T16" fmla="*/ 234 w 790"/>
                  <a:gd name="T17" fmla="*/ 390 h 467"/>
                  <a:gd name="T18" fmla="*/ 395 w 790"/>
                  <a:gd name="T19" fmla="*/ 455 h 467"/>
                  <a:gd name="T20" fmla="*/ 556 w 790"/>
                  <a:gd name="T21" fmla="*/ 390 h 467"/>
                  <a:gd name="T22" fmla="*/ 556 w 790"/>
                  <a:gd name="T23" fmla="*/ 466 h 467"/>
                  <a:gd name="T24" fmla="*/ 599 w 790"/>
                  <a:gd name="T25" fmla="*/ 425 h 467"/>
                  <a:gd name="T26" fmla="*/ 600 w 790"/>
                  <a:gd name="T27" fmla="*/ 424 h 467"/>
                  <a:gd name="T28" fmla="*/ 600 w 790"/>
                  <a:gd name="T29" fmla="*/ 358 h 467"/>
                  <a:gd name="T30" fmla="*/ 606 w 790"/>
                  <a:gd name="T31" fmla="*/ 352 h 467"/>
                  <a:gd name="T32" fmla="*/ 732 w 790"/>
                  <a:gd name="T33" fmla="*/ 97 h 467"/>
                  <a:gd name="T34" fmla="*/ 790 w 790"/>
                  <a:gd name="T35" fmla="*/ 5 h 467"/>
                  <a:gd name="T36" fmla="*/ 790 w 790"/>
                  <a:gd name="T37" fmla="*/ 0 h 467"/>
                  <a:gd name="T38" fmla="*/ 739 w 790"/>
                  <a:gd name="T39" fmla="*/ 24 h 467"/>
                  <a:gd name="T40" fmla="*/ 704 w 790"/>
                  <a:gd name="T41" fmla="*/ 62 h 467"/>
                  <a:gd name="T42" fmla="*/ 694 w 790"/>
                  <a:gd name="T43" fmla="*/ 73 h 467"/>
                  <a:gd name="T44" fmla="*/ 577 w 790"/>
                  <a:gd name="T45" fmla="*/ 319 h 467"/>
                  <a:gd name="T46" fmla="*/ 395 w 790"/>
                  <a:gd name="T47" fmla="*/ 411 h 467"/>
                  <a:gd name="T48" fmla="*/ 213 w 790"/>
                  <a:gd name="T49" fmla="*/ 319 h 467"/>
                  <a:gd name="T50" fmla="*/ 96 w 790"/>
                  <a:gd name="T51" fmla="*/ 73 h 467"/>
                  <a:gd name="T52" fmla="*/ 85 w 790"/>
                  <a:gd name="T53" fmla="*/ 62 h 467"/>
                  <a:gd name="T54" fmla="*/ 51 w 790"/>
                  <a:gd name="T55" fmla="*/ 24 h 467"/>
                  <a:gd name="T56" fmla="*/ 0 w 790"/>
                  <a:gd name="T57" fmla="*/ 0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90" h="467">
                    <a:moveTo>
                      <a:pt x="0" y="0"/>
                    </a:moveTo>
                    <a:cubicBezTo>
                      <a:pt x="0" y="2"/>
                      <a:pt x="0" y="5"/>
                      <a:pt x="1" y="7"/>
                    </a:cubicBezTo>
                    <a:cubicBezTo>
                      <a:pt x="4" y="30"/>
                      <a:pt x="17" y="72"/>
                      <a:pt x="58" y="97"/>
                    </a:cubicBezTo>
                    <a:cubicBezTo>
                      <a:pt x="78" y="147"/>
                      <a:pt x="148" y="321"/>
                      <a:pt x="183" y="352"/>
                    </a:cubicBezTo>
                    <a:cubicBezTo>
                      <a:pt x="185" y="354"/>
                      <a:pt x="188" y="356"/>
                      <a:pt x="190" y="358"/>
                    </a:cubicBezTo>
                    <a:cubicBezTo>
                      <a:pt x="190" y="424"/>
                      <a:pt x="190" y="424"/>
                      <a:pt x="190" y="424"/>
                    </a:cubicBezTo>
                    <a:cubicBezTo>
                      <a:pt x="191" y="425"/>
                      <a:pt x="191" y="425"/>
                      <a:pt x="191" y="425"/>
                    </a:cubicBezTo>
                    <a:cubicBezTo>
                      <a:pt x="193" y="427"/>
                      <a:pt x="207" y="446"/>
                      <a:pt x="234" y="467"/>
                    </a:cubicBezTo>
                    <a:cubicBezTo>
                      <a:pt x="234" y="390"/>
                      <a:pt x="234" y="390"/>
                      <a:pt x="234" y="390"/>
                    </a:cubicBezTo>
                    <a:cubicBezTo>
                      <a:pt x="283" y="422"/>
                      <a:pt x="348" y="455"/>
                      <a:pt x="395" y="455"/>
                    </a:cubicBezTo>
                    <a:cubicBezTo>
                      <a:pt x="442" y="455"/>
                      <a:pt x="507" y="422"/>
                      <a:pt x="556" y="390"/>
                    </a:cubicBezTo>
                    <a:cubicBezTo>
                      <a:pt x="556" y="466"/>
                      <a:pt x="556" y="466"/>
                      <a:pt x="556" y="466"/>
                    </a:cubicBezTo>
                    <a:cubicBezTo>
                      <a:pt x="584" y="445"/>
                      <a:pt x="598" y="425"/>
                      <a:pt x="599" y="425"/>
                    </a:cubicBezTo>
                    <a:cubicBezTo>
                      <a:pt x="600" y="424"/>
                      <a:pt x="600" y="424"/>
                      <a:pt x="600" y="424"/>
                    </a:cubicBezTo>
                    <a:cubicBezTo>
                      <a:pt x="600" y="358"/>
                      <a:pt x="600" y="358"/>
                      <a:pt x="600" y="358"/>
                    </a:cubicBezTo>
                    <a:cubicBezTo>
                      <a:pt x="602" y="356"/>
                      <a:pt x="604" y="354"/>
                      <a:pt x="606" y="352"/>
                    </a:cubicBezTo>
                    <a:cubicBezTo>
                      <a:pt x="642" y="321"/>
                      <a:pt x="712" y="147"/>
                      <a:pt x="732" y="97"/>
                    </a:cubicBezTo>
                    <a:cubicBezTo>
                      <a:pt x="775" y="71"/>
                      <a:pt x="787" y="24"/>
                      <a:pt x="790" y="5"/>
                    </a:cubicBezTo>
                    <a:cubicBezTo>
                      <a:pt x="790" y="3"/>
                      <a:pt x="790" y="2"/>
                      <a:pt x="790" y="0"/>
                    </a:cubicBezTo>
                    <a:cubicBezTo>
                      <a:pt x="739" y="24"/>
                      <a:pt x="739" y="24"/>
                      <a:pt x="739" y="24"/>
                    </a:cubicBezTo>
                    <a:cubicBezTo>
                      <a:pt x="733" y="38"/>
                      <a:pt x="722" y="53"/>
                      <a:pt x="704" y="62"/>
                    </a:cubicBezTo>
                    <a:cubicBezTo>
                      <a:pt x="700" y="64"/>
                      <a:pt x="696" y="68"/>
                      <a:pt x="694" y="73"/>
                    </a:cubicBezTo>
                    <a:cubicBezTo>
                      <a:pt x="659" y="164"/>
                      <a:pt x="599" y="300"/>
                      <a:pt x="577" y="319"/>
                    </a:cubicBezTo>
                    <a:cubicBezTo>
                      <a:pt x="542" y="350"/>
                      <a:pt x="446" y="411"/>
                      <a:pt x="395" y="411"/>
                    </a:cubicBezTo>
                    <a:cubicBezTo>
                      <a:pt x="344" y="411"/>
                      <a:pt x="248" y="350"/>
                      <a:pt x="213" y="319"/>
                    </a:cubicBezTo>
                    <a:cubicBezTo>
                      <a:pt x="191" y="300"/>
                      <a:pt x="131" y="164"/>
                      <a:pt x="96" y="73"/>
                    </a:cubicBezTo>
                    <a:cubicBezTo>
                      <a:pt x="94" y="68"/>
                      <a:pt x="90" y="64"/>
                      <a:pt x="85" y="62"/>
                    </a:cubicBezTo>
                    <a:cubicBezTo>
                      <a:pt x="67" y="53"/>
                      <a:pt x="57" y="38"/>
                      <a:pt x="51" y="2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40" name="ee4pContent2"/>
          <p:cNvSpPr txBox="1"/>
          <p:nvPr/>
        </p:nvSpPr>
        <p:spPr>
          <a:xfrm>
            <a:off x="7274406" y="2173421"/>
            <a:ext cx="3720165" cy="73866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Plan required work orders for project development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Design </a:t>
            </a:r>
            <a:r>
              <a:rPr lang="en-US" sz="1200" dirty="0" err="1">
                <a:solidFill>
                  <a:schemeClr val="tx1"/>
                </a:solidFill>
              </a:rPr>
              <a:t>KPIs</a:t>
            </a:r>
            <a:r>
              <a:rPr lang="en-US" sz="1200" dirty="0">
                <a:solidFill>
                  <a:schemeClr val="tx1"/>
                </a:solidFill>
              </a:rPr>
              <a:t> and Service Level Agreement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Align requirements with project budget</a:t>
            </a:r>
          </a:p>
        </p:txBody>
      </p:sp>
      <p:sp>
        <p:nvSpPr>
          <p:cNvPr id="41" name="ee4pContent2"/>
          <p:cNvSpPr txBox="1"/>
          <p:nvPr/>
        </p:nvSpPr>
        <p:spPr>
          <a:xfrm>
            <a:off x="7274406" y="3193443"/>
            <a:ext cx="3720165" cy="20313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Manage start, execution, and closing of contracts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Get work permits and approve subcontractors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Create work orders and goods receipt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Monitor and manage contract budget execution, both in time and cost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Ensure work orders are aligned with rates and conditions set in contract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Request to SCM contracts' amendments and additions to align sourcing with needs in the execution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Manage operating closure of contracts</a:t>
            </a:r>
          </a:p>
        </p:txBody>
      </p:sp>
      <p:sp>
        <p:nvSpPr>
          <p:cNvPr id="42" name="ee4pContent2"/>
          <p:cNvSpPr txBox="1"/>
          <p:nvPr/>
        </p:nvSpPr>
        <p:spPr>
          <a:xfrm>
            <a:off x="7274406" y="5506126"/>
            <a:ext cx="3720165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Validate SLA and </a:t>
            </a:r>
            <a:r>
              <a:rPr lang="en-US" sz="1200" dirty="0" err="1">
                <a:solidFill>
                  <a:schemeClr val="tx1"/>
                </a:solidFill>
              </a:rPr>
              <a:t>KPIs</a:t>
            </a:r>
            <a:r>
              <a:rPr lang="en-US" sz="1200" dirty="0">
                <a:solidFill>
                  <a:schemeClr val="tx1"/>
                </a:solidFill>
              </a:rPr>
              <a:t> for performance evaluation</a:t>
            </a:r>
          </a:p>
          <a:p>
            <a:pPr marL="320040" lvl="1" indent="-219456">
              <a:buClr>
                <a:srgbClr val="7F7F7F">
                  <a:lumMod val="100000"/>
                </a:srgbClr>
              </a:buClr>
            </a:pPr>
            <a:r>
              <a:rPr lang="en-US" sz="1200" dirty="0">
                <a:solidFill>
                  <a:schemeClr val="tx1"/>
                </a:solidFill>
              </a:rPr>
              <a:t>Follow up supplier's improvement action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274406" y="1884719"/>
            <a:ext cx="3477961" cy="19720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>
                <a:solidFill>
                  <a:srgbClr val="38468F"/>
                </a:solidFill>
              </a:rPr>
              <a:t>Rol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160964" y="1566628"/>
            <a:ext cx="2584838" cy="22159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tx2"/>
                </a:solidFill>
              </a:rPr>
              <a:t>Project service office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274406" y="1566628"/>
            <a:ext cx="2584838" cy="22159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tx2"/>
                </a:solidFill>
              </a:rPr>
              <a:t>Contract administrato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4459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>
            <a:off x="1580950" y="-1"/>
            <a:ext cx="2148512" cy="6871448"/>
          </a:xfrm>
          <a:custGeom>
            <a:avLst/>
            <a:gdLst>
              <a:gd name="connsiteX0" fmla="*/ 0 w 3729462"/>
              <a:gd name="connsiteY0" fmla="*/ 0 h 6871448"/>
              <a:gd name="connsiteX1" fmla="*/ 1580950 w 3729462"/>
              <a:gd name="connsiteY1" fmla="*/ 0 h 6871448"/>
              <a:gd name="connsiteX2" fmla="*/ 1743964 w 3729462"/>
              <a:gd name="connsiteY2" fmla="*/ 252070 h 6871448"/>
              <a:gd name="connsiteX3" fmla="*/ 3220115 w 3729462"/>
              <a:gd name="connsiteY3" fmla="*/ 2808840 h 6871448"/>
              <a:gd name="connsiteX4" fmla="*/ 3068714 w 3729462"/>
              <a:gd name="connsiteY4" fmla="*/ 6848395 h 6871448"/>
              <a:gd name="connsiteX5" fmla="*/ 3052165 w 3729462"/>
              <a:gd name="connsiteY5" fmla="*/ 6871448 h 6871448"/>
              <a:gd name="connsiteX6" fmla="*/ 0 w 3729462"/>
              <a:gd name="connsiteY6" fmla="*/ 6871448 h 6871448"/>
              <a:gd name="connsiteX7" fmla="*/ 0 w 3729462"/>
              <a:gd name="connsiteY7" fmla="*/ 0 h 6871448"/>
              <a:gd name="connsiteX0" fmla="*/ 0 w 3729462"/>
              <a:gd name="connsiteY0" fmla="*/ 6871448 h 6871448"/>
              <a:gd name="connsiteX1" fmla="*/ 1580950 w 3729462"/>
              <a:gd name="connsiteY1" fmla="*/ 0 h 6871448"/>
              <a:gd name="connsiteX2" fmla="*/ 1743964 w 3729462"/>
              <a:gd name="connsiteY2" fmla="*/ 252070 h 6871448"/>
              <a:gd name="connsiteX3" fmla="*/ 3220115 w 3729462"/>
              <a:gd name="connsiteY3" fmla="*/ 2808840 h 6871448"/>
              <a:gd name="connsiteX4" fmla="*/ 3068714 w 3729462"/>
              <a:gd name="connsiteY4" fmla="*/ 6848395 h 6871448"/>
              <a:gd name="connsiteX5" fmla="*/ 3052165 w 3729462"/>
              <a:gd name="connsiteY5" fmla="*/ 6871448 h 6871448"/>
              <a:gd name="connsiteX6" fmla="*/ 0 w 3729462"/>
              <a:gd name="connsiteY6" fmla="*/ 6871448 h 6871448"/>
              <a:gd name="connsiteX0" fmla="*/ 0 w 3729462"/>
              <a:gd name="connsiteY0" fmla="*/ 6871448 h 6871448"/>
              <a:gd name="connsiteX1" fmla="*/ 1580950 w 3729462"/>
              <a:gd name="connsiteY1" fmla="*/ 0 h 6871448"/>
              <a:gd name="connsiteX2" fmla="*/ 1743964 w 3729462"/>
              <a:gd name="connsiteY2" fmla="*/ 252070 h 6871448"/>
              <a:gd name="connsiteX3" fmla="*/ 3220115 w 3729462"/>
              <a:gd name="connsiteY3" fmla="*/ 2808840 h 6871448"/>
              <a:gd name="connsiteX4" fmla="*/ 3068714 w 3729462"/>
              <a:gd name="connsiteY4" fmla="*/ 6848395 h 6871448"/>
              <a:gd name="connsiteX5" fmla="*/ 3052165 w 3729462"/>
              <a:gd name="connsiteY5" fmla="*/ 6871448 h 6871448"/>
              <a:gd name="connsiteX6" fmla="*/ 0 w 3729462"/>
              <a:gd name="connsiteY6" fmla="*/ 6871448 h 6871448"/>
              <a:gd name="connsiteX0" fmla="*/ 1580950 w 3729462"/>
              <a:gd name="connsiteY0" fmla="*/ 0 h 6871448"/>
              <a:gd name="connsiteX1" fmla="*/ 1743964 w 3729462"/>
              <a:gd name="connsiteY1" fmla="*/ 252070 h 6871448"/>
              <a:gd name="connsiteX2" fmla="*/ 3220115 w 3729462"/>
              <a:gd name="connsiteY2" fmla="*/ 2808840 h 6871448"/>
              <a:gd name="connsiteX3" fmla="*/ 3068714 w 3729462"/>
              <a:gd name="connsiteY3" fmla="*/ 6848395 h 6871448"/>
              <a:gd name="connsiteX4" fmla="*/ 3052165 w 3729462"/>
              <a:gd name="connsiteY4" fmla="*/ 6871448 h 6871448"/>
              <a:gd name="connsiteX5" fmla="*/ 0 w 3729462"/>
              <a:gd name="connsiteY5" fmla="*/ 6871448 h 6871448"/>
              <a:gd name="connsiteX6" fmla="*/ 1672390 w 3729462"/>
              <a:gd name="connsiteY6" fmla="*/ 91440 h 6871448"/>
              <a:gd name="connsiteX0" fmla="*/ 1580950 w 3729462"/>
              <a:gd name="connsiteY0" fmla="*/ 0 h 6871448"/>
              <a:gd name="connsiteX1" fmla="*/ 1743964 w 3729462"/>
              <a:gd name="connsiteY1" fmla="*/ 252070 h 6871448"/>
              <a:gd name="connsiteX2" fmla="*/ 3220115 w 3729462"/>
              <a:gd name="connsiteY2" fmla="*/ 2808840 h 6871448"/>
              <a:gd name="connsiteX3" fmla="*/ 3068714 w 3729462"/>
              <a:gd name="connsiteY3" fmla="*/ 6848395 h 6871448"/>
              <a:gd name="connsiteX4" fmla="*/ 3052165 w 3729462"/>
              <a:gd name="connsiteY4" fmla="*/ 6871448 h 6871448"/>
              <a:gd name="connsiteX5" fmla="*/ 0 w 3729462"/>
              <a:gd name="connsiteY5" fmla="*/ 6871448 h 6871448"/>
              <a:gd name="connsiteX6" fmla="*/ 247002 w 3729462"/>
              <a:gd name="connsiteY6" fmla="*/ 1167205 h 6871448"/>
              <a:gd name="connsiteX0" fmla="*/ 1580950 w 3729462"/>
              <a:gd name="connsiteY0" fmla="*/ 0 h 6871448"/>
              <a:gd name="connsiteX1" fmla="*/ 1743964 w 3729462"/>
              <a:gd name="connsiteY1" fmla="*/ 252070 h 6871448"/>
              <a:gd name="connsiteX2" fmla="*/ 3220115 w 3729462"/>
              <a:gd name="connsiteY2" fmla="*/ 2808840 h 6871448"/>
              <a:gd name="connsiteX3" fmla="*/ 3068714 w 3729462"/>
              <a:gd name="connsiteY3" fmla="*/ 6848395 h 6871448"/>
              <a:gd name="connsiteX4" fmla="*/ 3052165 w 3729462"/>
              <a:gd name="connsiteY4" fmla="*/ 6871448 h 6871448"/>
              <a:gd name="connsiteX5" fmla="*/ 0 w 3729462"/>
              <a:gd name="connsiteY5" fmla="*/ 6871448 h 6871448"/>
              <a:gd name="connsiteX0" fmla="*/ 0 w 2148512"/>
              <a:gd name="connsiteY0" fmla="*/ 0 h 6871448"/>
              <a:gd name="connsiteX1" fmla="*/ 163014 w 2148512"/>
              <a:gd name="connsiteY1" fmla="*/ 252070 h 6871448"/>
              <a:gd name="connsiteX2" fmla="*/ 1639165 w 2148512"/>
              <a:gd name="connsiteY2" fmla="*/ 2808840 h 6871448"/>
              <a:gd name="connsiteX3" fmla="*/ 1487764 w 2148512"/>
              <a:gd name="connsiteY3" fmla="*/ 6848395 h 6871448"/>
              <a:gd name="connsiteX4" fmla="*/ 1471215 w 2148512"/>
              <a:gd name="connsiteY4" fmla="*/ 6871448 h 687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48512" h="6871448">
                <a:moveTo>
                  <a:pt x="0" y="0"/>
                </a:moveTo>
                <a:lnTo>
                  <a:pt x="163014" y="252070"/>
                </a:lnTo>
                <a:lnTo>
                  <a:pt x="1639165" y="2808840"/>
                </a:lnTo>
                <a:cubicBezTo>
                  <a:pt x="2392802" y="4114176"/>
                  <a:pt x="2283307" y="5680988"/>
                  <a:pt x="1487764" y="6848395"/>
                </a:cubicBezTo>
                <a:lnTo>
                  <a:pt x="1471215" y="6871448"/>
                </a:lnTo>
              </a:path>
            </a:pathLst>
          </a:cu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572252" y="-13448"/>
            <a:ext cx="2157209" cy="6884896"/>
          </a:xfrm>
          <a:custGeom>
            <a:avLst/>
            <a:gdLst>
              <a:gd name="connsiteX0" fmla="*/ 0 w 3742907"/>
              <a:gd name="connsiteY0" fmla="*/ 0 h 6884896"/>
              <a:gd name="connsiteX1" fmla="*/ 3065610 w 3742907"/>
              <a:gd name="connsiteY1" fmla="*/ 0 h 6884896"/>
              <a:gd name="connsiteX2" fmla="*/ 3082159 w 3742907"/>
              <a:gd name="connsiteY2" fmla="*/ 23053 h 6884896"/>
              <a:gd name="connsiteX3" fmla="*/ 3233560 w 3742907"/>
              <a:gd name="connsiteY3" fmla="*/ 4062608 h 6884896"/>
              <a:gd name="connsiteX4" fmla="*/ 1757409 w 3742907"/>
              <a:gd name="connsiteY4" fmla="*/ 6619378 h 6884896"/>
              <a:gd name="connsiteX5" fmla="*/ 1585698 w 3742907"/>
              <a:gd name="connsiteY5" fmla="*/ 6884896 h 6884896"/>
              <a:gd name="connsiteX6" fmla="*/ 0 w 3742907"/>
              <a:gd name="connsiteY6" fmla="*/ 6884896 h 6884896"/>
              <a:gd name="connsiteX7" fmla="*/ 0 w 3742907"/>
              <a:gd name="connsiteY7" fmla="*/ 0 h 6884896"/>
              <a:gd name="connsiteX0" fmla="*/ 0 w 3742907"/>
              <a:gd name="connsiteY0" fmla="*/ 6884896 h 6884896"/>
              <a:gd name="connsiteX1" fmla="*/ 3065610 w 3742907"/>
              <a:gd name="connsiteY1" fmla="*/ 0 h 6884896"/>
              <a:gd name="connsiteX2" fmla="*/ 3082159 w 3742907"/>
              <a:gd name="connsiteY2" fmla="*/ 23053 h 6884896"/>
              <a:gd name="connsiteX3" fmla="*/ 3233560 w 3742907"/>
              <a:gd name="connsiteY3" fmla="*/ 4062608 h 6884896"/>
              <a:gd name="connsiteX4" fmla="*/ 1757409 w 3742907"/>
              <a:gd name="connsiteY4" fmla="*/ 6619378 h 6884896"/>
              <a:gd name="connsiteX5" fmla="*/ 1585698 w 3742907"/>
              <a:gd name="connsiteY5" fmla="*/ 6884896 h 6884896"/>
              <a:gd name="connsiteX6" fmla="*/ 0 w 3742907"/>
              <a:gd name="connsiteY6" fmla="*/ 6884896 h 6884896"/>
              <a:gd name="connsiteX0" fmla="*/ 0 w 3742907"/>
              <a:gd name="connsiteY0" fmla="*/ 6884896 h 6976336"/>
              <a:gd name="connsiteX1" fmla="*/ 3065610 w 3742907"/>
              <a:gd name="connsiteY1" fmla="*/ 0 h 6976336"/>
              <a:gd name="connsiteX2" fmla="*/ 3082159 w 3742907"/>
              <a:gd name="connsiteY2" fmla="*/ 23053 h 6976336"/>
              <a:gd name="connsiteX3" fmla="*/ 3233560 w 3742907"/>
              <a:gd name="connsiteY3" fmla="*/ 4062608 h 6976336"/>
              <a:gd name="connsiteX4" fmla="*/ 1757409 w 3742907"/>
              <a:gd name="connsiteY4" fmla="*/ 6619378 h 6976336"/>
              <a:gd name="connsiteX5" fmla="*/ 1585698 w 3742907"/>
              <a:gd name="connsiteY5" fmla="*/ 6884896 h 6976336"/>
              <a:gd name="connsiteX6" fmla="*/ 91440 w 3742907"/>
              <a:gd name="connsiteY6" fmla="*/ 6976336 h 6976336"/>
              <a:gd name="connsiteX0" fmla="*/ 0 w 3742907"/>
              <a:gd name="connsiteY0" fmla="*/ 6884896 h 6884896"/>
              <a:gd name="connsiteX1" fmla="*/ 3065610 w 3742907"/>
              <a:gd name="connsiteY1" fmla="*/ 0 h 6884896"/>
              <a:gd name="connsiteX2" fmla="*/ 3082159 w 3742907"/>
              <a:gd name="connsiteY2" fmla="*/ 23053 h 6884896"/>
              <a:gd name="connsiteX3" fmla="*/ 3233560 w 3742907"/>
              <a:gd name="connsiteY3" fmla="*/ 4062608 h 6884896"/>
              <a:gd name="connsiteX4" fmla="*/ 1757409 w 3742907"/>
              <a:gd name="connsiteY4" fmla="*/ 6619378 h 6884896"/>
              <a:gd name="connsiteX5" fmla="*/ 1585698 w 3742907"/>
              <a:gd name="connsiteY5" fmla="*/ 6884896 h 6884896"/>
              <a:gd name="connsiteX0" fmla="*/ 1479912 w 2157209"/>
              <a:gd name="connsiteY0" fmla="*/ 0 h 6884896"/>
              <a:gd name="connsiteX1" fmla="*/ 1496461 w 2157209"/>
              <a:gd name="connsiteY1" fmla="*/ 23053 h 6884896"/>
              <a:gd name="connsiteX2" fmla="*/ 1647862 w 2157209"/>
              <a:gd name="connsiteY2" fmla="*/ 4062608 h 6884896"/>
              <a:gd name="connsiteX3" fmla="*/ 171711 w 2157209"/>
              <a:gd name="connsiteY3" fmla="*/ 6619378 h 6884896"/>
              <a:gd name="connsiteX4" fmla="*/ 0 w 2157209"/>
              <a:gd name="connsiteY4" fmla="*/ 6884896 h 6884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7209" h="6884896">
                <a:moveTo>
                  <a:pt x="1479912" y="0"/>
                </a:moveTo>
                <a:lnTo>
                  <a:pt x="1496461" y="23053"/>
                </a:lnTo>
                <a:cubicBezTo>
                  <a:pt x="2292004" y="1190460"/>
                  <a:pt x="2401499" y="2757272"/>
                  <a:pt x="1647862" y="4062608"/>
                </a:cubicBezTo>
                <a:lnTo>
                  <a:pt x="171711" y="6619378"/>
                </a:lnTo>
                <a:lnTo>
                  <a:pt x="0" y="6884896"/>
                </a:lnTo>
              </a:path>
            </a:pathLst>
          </a:custGeom>
          <a:noFill/>
          <a:ln w="9525">
            <a:solidFill>
              <a:srgbClr val="2E35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49" name="Freeform 48"/>
          <p:cNvSpPr/>
          <p:nvPr/>
        </p:nvSpPr>
        <p:spPr>
          <a:xfrm>
            <a:off x="2442547" y="-13448"/>
            <a:ext cx="548203" cy="6871448"/>
          </a:xfrm>
          <a:custGeom>
            <a:avLst/>
            <a:gdLst>
              <a:gd name="connsiteX0" fmla="*/ 0 w 2990749"/>
              <a:gd name="connsiteY0" fmla="*/ 0 h 6871448"/>
              <a:gd name="connsiteX1" fmla="*/ 2442546 w 2990749"/>
              <a:gd name="connsiteY1" fmla="*/ 0 h 6871448"/>
              <a:gd name="connsiteX2" fmla="*/ 2532461 w 2990749"/>
              <a:gd name="connsiteY2" fmla="*/ 156377 h 6871448"/>
              <a:gd name="connsiteX3" fmla="*/ 2990749 w 2990749"/>
              <a:gd name="connsiteY3" fmla="*/ 1966296 h 6871448"/>
              <a:gd name="connsiteX4" fmla="*/ 2990749 w 2990749"/>
              <a:gd name="connsiteY4" fmla="*/ 4918599 h 6871448"/>
              <a:gd name="connsiteX5" fmla="*/ 2532461 w 2990749"/>
              <a:gd name="connsiteY5" fmla="*/ 6728518 h 6871448"/>
              <a:gd name="connsiteX6" fmla="*/ 2450278 w 2990749"/>
              <a:gd name="connsiteY6" fmla="*/ 6871448 h 6871448"/>
              <a:gd name="connsiteX7" fmla="*/ 0 w 2990749"/>
              <a:gd name="connsiteY7" fmla="*/ 6871448 h 6871448"/>
              <a:gd name="connsiteX8" fmla="*/ 0 w 2990749"/>
              <a:gd name="connsiteY8" fmla="*/ 0 h 6871448"/>
              <a:gd name="connsiteX0" fmla="*/ 0 w 2990749"/>
              <a:gd name="connsiteY0" fmla="*/ 6871448 h 6871448"/>
              <a:gd name="connsiteX1" fmla="*/ 2442546 w 2990749"/>
              <a:gd name="connsiteY1" fmla="*/ 0 h 6871448"/>
              <a:gd name="connsiteX2" fmla="*/ 2532461 w 2990749"/>
              <a:gd name="connsiteY2" fmla="*/ 156377 h 6871448"/>
              <a:gd name="connsiteX3" fmla="*/ 2990749 w 2990749"/>
              <a:gd name="connsiteY3" fmla="*/ 1966296 h 6871448"/>
              <a:gd name="connsiteX4" fmla="*/ 2990749 w 2990749"/>
              <a:gd name="connsiteY4" fmla="*/ 4918599 h 6871448"/>
              <a:gd name="connsiteX5" fmla="*/ 2532461 w 2990749"/>
              <a:gd name="connsiteY5" fmla="*/ 6728518 h 6871448"/>
              <a:gd name="connsiteX6" fmla="*/ 2450278 w 2990749"/>
              <a:gd name="connsiteY6" fmla="*/ 6871448 h 6871448"/>
              <a:gd name="connsiteX7" fmla="*/ 0 w 2990749"/>
              <a:gd name="connsiteY7" fmla="*/ 6871448 h 6871448"/>
              <a:gd name="connsiteX0" fmla="*/ 0 w 2990749"/>
              <a:gd name="connsiteY0" fmla="*/ 6871448 h 6962888"/>
              <a:gd name="connsiteX1" fmla="*/ 2442546 w 2990749"/>
              <a:gd name="connsiteY1" fmla="*/ 0 h 6962888"/>
              <a:gd name="connsiteX2" fmla="*/ 2532461 w 2990749"/>
              <a:gd name="connsiteY2" fmla="*/ 156377 h 6962888"/>
              <a:gd name="connsiteX3" fmla="*/ 2990749 w 2990749"/>
              <a:gd name="connsiteY3" fmla="*/ 1966296 h 6962888"/>
              <a:gd name="connsiteX4" fmla="*/ 2990749 w 2990749"/>
              <a:gd name="connsiteY4" fmla="*/ 4918599 h 6962888"/>
              <a:gd name="connsiteX5" fmla="*/ 2532461 w 2990749"/>
              <a:gd name="connsiteY5" fmla="*/ 6728518 h 6962888"/>
              <a:gd name="connsiteX6" fmla="*/ 2450278 w 2990749"/>
              <a:gd name="connsiteY6" fmla="*/ 6871448 h 6962888"/>
              <a:gd name="connsiteX7" fmla="*/ 91440 w 2990749"/>
              <a:gd name="connsiteY7" fmla="*/ 6962888 h 6962888"/>
              <a:gd name="connsiteX0" fmla="*/ 0 w 2990749"/>
              <a:gd name="connsiteY0" fmla="*/ 6871448 h 6871448"/>
              <a:gd name="connsiteX1" fmla="*/ 2442546 w 2990749"/>
              <a:gd name="connsiteY1" fmla="*/ 0 h 6871448"/>
              <a:gd name="connsiteX2" fmla="*/ 2532461 w 2990749"/>
              <a:gd name="connsiteY2" fmla="*/ 156377 h 6871448"/>
              <a:gd name="connsiteX3" fmla="*/ 2990749 w 2990749"/>
              <a:gd name="connsiteY3" fmla="*/ 1966296 h 6871448"/>
              <a:gd name="connsiteX4" fmla="*/ 2990749 w 2990749"/>
              <a:gd name="connsiteY4" fmla="*/ 4918599 h 6871448"/>
              <a:gd name="connsiteX5" fmla="*/ 2532461 w 2990749"/>
              <a:gd name="connsiteY5" fmla="*/ 6728518 h 6871448"/>
              <a:gd name="connsiteX6" fmla="*/ 2450278 w 2990749"/>
              <a:gd name="connsiteY6" fmla="*/ 6871448 h 6871448"/>
              <a:gd name="connsiteX0" fmla="*/ 0 w 548203"/>
              <a:gd name="connsiteY0" fmla="*/ 0 h 6871448"/>
              <a:gd name="connsiteX1" fmla="*/ 89915 w 548203"/>
              <a:gd name="connsiteY1" fmla="*/ 156377 h 6871448"/>
              <a:gd name="connsiteX2" fmla="*/ 548203 w 548203"/>
              <a:gd name="connsiteY2" fmla="*/ 1966296 h 6871448"/>
              <a:gd name="connsiteX3" fmla="*/ 548203 w 548203"/>
              <a:gd name="connsiteY3" fmla="*/ 4918599 h 6871448"/>
              <a:gd name="connsiteX4" fmla="*/ 89915 w 548203"/>
              <a:gd name="connsiteY4" fmla="*/ 6728518 h 6871448"/>
              <a:gd name="connsiteX5" fmla="*/ 7732 w 548203"/>
              <a:gd name="connsiteY5" fmla="*/ 6871448 h 687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8203" h="6871448">
                <a:moveTo>
                  <a:pt x="0" y="0"/>
                </a:moveTo>
                <a:lnTo>
                  <a:pt x="89915" y="156377"/>
                </a:lnTo>
                <a:cubicBezTo>
                  <a:pt x="382186" y="694400"/>
                  <a:pt x="548203" y="1310960"/>
                  <a:pt x="548203" y="1966296"/>
                </a:cubicBezTo>
                <a:lnTo>
                  <a:pt x="548203" y="4918599"/>
                </a:lnTo>
                <a:cubicBezTo>
                  <a:pt x="548203" y="5573935"/>
                  <a:pt x="382186" y="6190495"/>
                  <a:pt x="89915" y="6728518"/>
                </a:cubicBezTo>
                <a:lnTo>
                  <a:pt x="7732" y="6871448"/>
                </a:ln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29809" y="4755928"/>
            <a:ext cx="6158606" cy="1292662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800" dirty="0">
                <a:solidFill>
                  <a:srgbClr val="2E3558"/>
                </a:solidFill>
                <a:latin typeface="Trebuchet MS" panose="020B0603020202020204" pitchFamily="34" charset="0"/>
              </a:rPr>
              <a:t>Agree on implementation plan to successfully capture savings and transition to new processes</a:t>
            </a:r>
            <a:endParaRPr lang="en-US" dirty="0">
              <a:solidFill>
                <a:srgbClr val="2E3558"/>
              </a:solidFill>
              <a:latin typeface="Trebuchet MS" panose="020B0603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929808" y="2975887"/>
            <a:ext cx="6337283" cy="861774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800" dirty="0">
                <a:solidFill>
                  <a:schemeClr val="accent6"/>
                </a:solidFill>
                <a:latin typeface="Trebuchet MS" panose="020B0603020202020204" pitchFamily="34" charset="0"/>
              </a:rPr>
              <a:t>Share new &amp; redesigned </a:t>
            </a:r>
            <a:r>
              <a:rPr lang="en-US" sz="2800" dirty="0" err="1">
                <a:solidFill>
                  <a:schemeClr val="accent6"/>
                </a:solidFill>
                <a:latin typeface="Trebuchet MS" panose="020B0603020202020204" pitchFamily="34" charset="0"/>
              </a:rPr>
              <a:t>SCM</a:t>
            </a:r>
            <a:r>
              <a:rPr lang="en-US" sz="2800" dirty="0">
                <a:solidFill>
                  <a:schemeClr val="accent6"/>
                </a:solidFill>
                <a:latin typeface="Trebuchet MS" panose="020B0603020202020204" pitchFamily="34" charset="0"/>
              </a:rPr>
              <a:t> processes for procurement excellence</a:t>
            </a:r>
            <a:endParaRPr lang="en-US" dirty="0">
              <a:solidFill>
                <a:schemeClr val="accent6"/>
              </a:solidFill>
              <a:latin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29809" y="980405"/>
            <a:ext cx="6337282" cy="861774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800" dirty="0">
                <a:solidFill>
                  <a:schemeClr val="tx2"/>
                </a:solidFill>
                <a:latin typeface="Trebuchet MS" panose="020B0603020202020204" pitchFamily="34" charset="0"/>
              </a:rPr>
              <a:t>Validate savings potential for </a:t>
            </a:r>
            <a:r>
              <a:rPr lang="en-US" sz="2800" dirty="0" err="1">
                <a:solidFill>
                  <a:schemeClr val="tx2"/>
                </a:solidFill>
                <a:latin typeface="Trebuchet MS" panose="020B0603020202020204" pitchFamily="34" charset="0"/>
              </a:rPr>
              <a:t>FEC</a:t>
            </a:r>
            <a:r>
              <a:rPr lang="en-US" sz="2800" dirty="0">
                <a:solidFill>
                  <a:schemeClr val="tx2"/>
                </a:solidFill>
                <a:latin typeface="Trebuchet MS" panose="020B0603020202020204" pitchFamily="34" charset="0"/>
              </a:rPr>
              <a:t> in core categories</a:t>
            </a:r>
            <a:endParaRPr lang="en-US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24" name="Straight Connector 23"/>
          <p:cNvCxnSpPr>
            <a:cxnSpLocks/>
            <a:stCxn id="22" idx="1"/>
          </p:cNvCxnSpPr>
          <p:nvPr/>
        </p:nvCxnSpPr>
        <p:spPr>
          <a:xfrm flipH="1">
            <a:off x="2442545" y="5402259"/>
            <a:ext cx="2487264" cy="1"/>
          </a:xfrm>
          <a:prstGeom prst="line">
            <a:avLst/>
          </a:prstGeom>
          <a:ln w="9525">
            <a:solidFill>
              <a:srgbClr val="2E3558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/>
        </p:nvCxnSpPr>
        <p:spPr>
          <a:xfrm flipH="1">
            <a:off x="2990754" y="3406775"/>
            <a:ext cx="1939054" cy="0"/>
          </a:xfrm>
          <a:prstGeom prst="line">
            <a:avLst/>
          </a:prstGeom>
          <a:ln w="9525">
            <a:solidFill>
              <a:schemeClr val="accent6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 flipH="1">
            <a:off x="2442543" y="1411291"/>
            <a:ext cx="2487265" cy="0"/>
          </a:xfrm>
          <a:prstGeom prst="line">
            <a:avLst/>
          </a:prstGeom>
          <a:ln w="9525">
            <a:solidFill>
              <a:schemeClr val="tx2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77576" y="2298779"/>
            <a:ext cx="249269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spc="0">
                <a:solidFill>
                  <a:srgbClr val="452D6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/>
              <a:t>Our objectives for today's meeting</a:t>
            </a:r>
          </a:p>
        </p:txBody>
      </p:sp>
    </p:spTree>
    <p:extLst>
      <p:ext uri="{BB962C8B-B14F-4D97-AF65-F5344CB8AC3E}">
        <p14:creationId xmlns:p14="http://schemas.microsoft.com/office/powerpoint/2010/main" val="264225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" name="Object 22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119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10" name="think-cell Slide" r:id="rId7" imgW="536" imgH="535" progId="TCLayout.ActiveDocument.1">
                  <p:embed/>
                </p:oleObj>
              </mc:Choice>
              <mc:Fallback>
                <p:oleObj name="think-cell Slide" r:id="rId7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/>
          <a:lstStyle/>
          <a:p>
            <a:r>
              <a:rPr lang="en-US" dirty="0"/>
              <a:t>New tiered supplier performance evaluation in line with category criticality and spend</a:t>
            </a:r>
          </a:p>
        </p:txBody>
      </p:sp>
      <p:sp>
        <p:nvSpPr>
          <p:cNvPr id="56" name="ee4pFootnotes"/>
          <p:cNvSpPr>
            <a:spLocks noChangeArrowheads="1"/>
          </p:cNvSpPr>
          <p:nvPr/>
        </p:nvSpPr>
        <p:spPr bwMode="auto">
          <a:xfrm>
            <a:off x="629998" y="6657246"/>
            <a:ext cx="841875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338036" y="1811768"/>
            <a:ext cx="2185535" cy="246221"/>
          </a:xfrm>
          <a:prstGeom prst="rect">
            <a:avLst/>
          </a:prstGeom>
          <a:noFill/>
        </p:spPr>
        <p:txBody>
          <a:bodyPr wrap="square" lIns="87480" tIns="0" rIns="0" bIns="0" rtlCol="0" anchor="ctr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B6187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pPr>
              <a:buNone/>
            </a:pPr>
            <a:r>
              <a:rPr lang="en-US" dirty="0" err="1"/>
              <a:t>FEC</a:t>
            </a:r>
            <a:r>
              <a:rPr lang="en-US" dirty="0"/>
              <a:t> Participant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9860069" y="1811768"/>
            <a:ext cx="1546364" cy="246221"/>
          </a:xfrm>
          <a:prstGeom prst="rect">
            <a:avLst/>
          </a:prstGeom>
          <a:noFill/>
        </p:spPr>
        <p:txBody>
          <a:bodyPr wrap="square" lIns="87480" tIns="0" rIns="0" bIns="0" rtlCol="0" anchor="ctr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B6187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Frequency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719903" y="1811768"/>
            <a:ext cx="2077561" cy="246221"/>
          </a:xfrm>
          <a:prstGeom prst="rect">
            <a:avLst/>
          </a:prstGeom>
          <a:noFill/>
        </p:spPr>
        <p:txBody>
          <a:bodyPr wrap="square" lIns="87480" tIns="0" rIns="0" bIns="0" rtlCol="0" anchor="ctr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B6187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pPr>
              <a:buNone/>
            </a:pPr>
            <a:r>
              <a:rPr lang="en-US" dirty="0"/>
              <a:t>Supplier Participants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346803" y="2420159"/>
            <a:ext cx="3904685" cy="3781597"/>
            <a:chOff x="862445" y="2782054"/>
            <a:chExt cx="3518767" cy="3407843"/>
          </a:xfrm>
        </p:grpSpPr>
        <p:grpSp>
          <p:nvGrpSpPr>
            <p:cNvPr id="75" name="Group 74"/>
            <p:cNvGrpSpPr/>
            <p:nvPr/>
          </p:nvGrpSpPr>
          <p:grpSpPr>
            <a:xfrm>
              <a:off x="1441450" y="2806700"/>
              <a:ext cx="2834640" cy="2832100"/>
              <a:chOff x="1441450" y="2806700"/>
              <a:chExt cx="2825750" cy="2832100"/>
            </a:xfrm>
          </p:grpSpPr>
          <p:sp>
            <p:nvSpPr>
              <p:cNvPr id="113" name="Rectangle 112"/>
              <p:cNvSpPr/>
              <p:nvPr/>
            </p:nvSpPr>
            <p:spPr>
              <a:xfrm>
                <a:off x="1441450" y="2806700"/>
                <a:ext cx="2825750" cy="2832100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 w="9525" cap="rnd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Freeform 113"/>
              <p:cNvSpPr/>
              <p:nvPr/>
            </p:nvSpPr>
            <p:spPr>
              <a:xfrm>
                <a:off x="1454150" y="2806701"/>
                <a:ext cx="2803526" cy="2824956"/>
              </a:xfrm>
              <a:custGeom>
                <a:avLst/>
                <a:gdLst>
                  <a:gd name="connsiteX0" fmla="*/ 0 w 1423988"/>
                  <a:gd name="connsiteY0" fmla="*/ 0 h 1143000"/>
                  <a:gd name="connsiteX1" fmla="*/ 4763 w 1423988"/>
                  <a:gd name="connsiteY1" fmla="*/ 1143000 h 1143000"/>
                  <a:gd name="connsiteX2" fmla="*/ 1423988 w 1423988"/>
                  <a:gd name="connsiteY2" fmla="*/ 1133475 h 1143000"/>
                  <a:gd name="connsiteX3" fmla="*/ 0 w 1423988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172 h 1143172"/>
                  <a:gd name="connsiteX1" fmla="*/ 4763 w 1427163"/>
                  <a:gd name="connsiteY1" fmla="*/ 1143172 h 1143172"/>
                  <a:gd name="connsiteX2" fmla="*/ 1427163 w 1427163"/>
                  <a:gd name="connsiteY2" fmla="*/ 1143172 h 1143172"/>
                  <a:gd name="connsiteX3" fmla="*/ 0 w 1427163"/>
                  <a:gd name="connsiteY3" fmla="*/ 172 h 1143172"/>
                  <a:gd name="connsiteX0" fmla="*/ 0 w 1427163"/>
                  <a:gd name="connsiteY0" fmla="*/ 115 h 1143115"/>
                  <a:gd name="connsiteX1" fmla="*/ 4763 w 1427163"/>
                  <a:gd name="connsiteY1" fmla="*/ 1143115 h 1143115"/>
                  <a:gd name="connsiteX2" fmla="*/ 1427163 w 1427163"/>
                  <a:gd name="connsiteY2" fmla="*/ 1143115 h 1143115"/>
                  <a:gd name="connsiteX3" fmla="*/ 0 w 1427163"/>
                  <a:gd name="connsiteY3" fmla="*/ 115 h 1143115"/>
                  <a:gd name="connsiteX0" fmla="*/ 0 w 1424747"/>
                  <a:gd name="connsiteY0" fmla="*/ 115 h 1143115"/>
                  <a:gd name="connsiteX1" fmla="*/ 4763 w 1424747"/>
                  <a:gd name="connsiteY1" fmla="*/ 1143115 h 1143115"/>
                  <a:gd name="connsiteX2" fmla="*/ 1424747 w 1424747"/>
                  <a:gd name="connsiteY2" fmla="*/ 1143115 h 1143115"/>
                  <a:gd name="connsiteX3" fmla="*/ 0 w 1424747"/>
                  <a:gd name="connsiteY3" fmla="*/ 115 h 1143115"/>
                  <a:gd name="connsiteX0" fmla="*/ 0 w 1422331"/>
                  <a:gd name="connsiteY0" fmla="*/ 115 h 1143115"/>
                  <a:gd name="connsiteX1" fmla="*/ 4763 w 1422331"/>
                  <a:gd name="connsiteY1" fmla="*/ 1143115 h 1143115"/>
                  <a:gd name="connsiteX2" fmla="*/ 1422331 w 1422331"/>
                  <a:gd name="connsiteY2" fmla="*/ 1141080 h 1143115"/>
                  <a:gd name="connsiteX3" fmla="*/ 0 w 1422331"/>
                  <a:gd name="connsiteY3" fmla="*/ 115 h 1143115"/>
                  <a:gd name="connsiteX0" fmla="*/ 0 w 1422331"/>
                  <a:gd name="connsiteY0" fmla="*/ 115 h 1143115"/>
                  <a:gd name="connsiteX1" fmla="*/ 4763 w 1422331"/>
                  <a:gd name="connsiteY1" fmla="*/ 1143115 h 1143115"/>
                  <a:gd name="connsiteX2" fmla="*/ 1422331 w 1422331"/>
                  <a:gd name="connsiteY2" fmla="*/ 1141080 h 1143115"/>
                  <a:gd name="connsiteX3" fmla="*/ 0 w 1422331"/>
                  <a:gd name="connsiteY3" fmla="*/ 115 h 1143115"/>
                  <a:gd name="connsiteX0" fmla="*/ 0 w 1422331"/>
                  <a:gd name="connsiteY0" fmla="*/ 115 h 1143115"/>
                  <a:gd name="connsiteX1" fmla="*/ 4763 w 1422331"/>
                  <a:gd name="connsiteY1" fmla="*/ 1143115 h 1143115"/>
                  <a:gd name="connsiteX2" fmla="*/ 1422331 w 1422331"/>
                  <a:gd name="connsiteY2" fmla="*/ 1141080 h 1143115"/>
                  <a:gd name="connsiteX3" fmla="*/ 0 w 1422331"/>
                  <a:gd name="connsiteY3" fmla="*/ 115 h 1143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2331" h="1143115">
                    <a:moveTo>
                      <a:pt x="0" y="115"/>
                    </a:moveTo>
                    <a:cubicBezTo>
                      <a:pt x="1588" y="381115"/>
                      <a:pt x="3175" y="762115"/>
                      <a:pt x="4763" y="1143115"/>
                    </a:cubicBezTo>
                    <a:lnTo>
                      <a:pt x="1422331" y="1141080"/>
                    </a:lnTo>
                    <a:cubicBezTo>
                      <a:pt x="1393808" y="391750"/>
                      <a:pt x="657469" y="-7787"/>
                      <a:pt x="0" y="115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rnd" cmpd="sng" algn="ctr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Freeform 114"/>
              <p:cNvSpPr/>
              <p:nvPr/>
            </p:nvSpPr>
            <p:spPr>
              <a:xfrm>
                <a:off x="1454150" y="4238752"/>
                <a:ext cx="1411288" cy="1392904"/>
              </a:xfrm>
              <a:custGeom>
                <a:avLst/>
                <a:gdLst>
                  <a:gd name="connsiteX0" fmla="*/ 0 w 1423988"/>
                  <a:gd name="connsiteY0" fmla="*/ 0 h 1143000"/>
                  <a:gd name="connsiteX1" fmla="*/ 4763 w 1423988"/>
                  <a:gd name="connsiteY1" fmla="*/ 1143000 h 1143000"/>
                  <a:gd name="connsiteX2" fmla="*/ 1423988 w 1423988"/>
                  <a:gd name="connsiteY2" fmla="*/ 1133475 h 1143000"/>
                  <a:gd name="connsiteX3" fmla="*/ 0 w 1423988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476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7163"/>
                  <a:gd name="connsiteY0" fmla="*/ 0 h 1143000"/>
                  <a:gd name="connsiteX1" fmla="*/ 11113 w 1427163"/>
                  <a:gd name="connsiteY1" fmla="*/ 1143000 h 1143000"/>
                  <a:gd name="connsiteX2" fmla="*/ 1427163 w 1427163"/>
                  <a:gd name="connsiteY2" fmla="*/ 1143000 h 1143000"/>
                  <a:gd name="connsiteX3" fmla="*/ 0 w 1427163"/>
                  <a:gd name="connsiteY3" fmla="*/ 0 h 1143000"/>
                  <a:gd name="connsiteX0" fmla="*/ 0 w 1420813"/>
                  <a:gd name="connsiteY0" fmla="*/ 0 h 1136650"/>
                  <a:gd name="connsiteX1" fmla="*/ 4763 w 1420813"/>
                  <a:gd name="connsiteY1" fmla="*/ 1136650 h 1136650"/>
                  <a:gd name="connsiteX2" fmla="*/ 1420813 w 1420813"/>
                  <a:gd name="connsiteY2" fmla="*/ 1136650 h 1136650"/>
                  <a:gd name="connsiteX3" fmla="*/ 0 w 1420813"/>
                  <a:gd name="connsiteY3" fmla="*/ 0 h 1136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0813" h="1136650">
                    <a:moveTo>
                      <a:pt x="0" y="0"/>
                    </a:moveTo>
                    <a:cubicBezTo>
                      <a:pt x="1588" y="381000"/>
                      <a:pt x="3175" y="755650"/>
                      <a:pt x="4763" y="1136650"/>
                    </a:cubicBezTo>
                    <a:lnTo>
                      <a:pt x="1420813" y="1136650"/>
                    </a:lnTo>
                    <a:cubicBezTo>
                      <a:pt x="1043517" y="247650"/>
                      <a:pt x="342371" y="50800"/>
                      <a:pt x="0" y="0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9525" cap="rnd" cmpd="sng" algn="ctr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89" name="Straight Arrow Connector 88"/>
            <p:cNvCxnSpPr/>
            <p:nvPr/>
          </p:nvCxnSpPr>
          <p:spPr>
            <a:xfrm>
              <a:off x="1340427" y="2806700"/>
              <a:ext cx="0" cy="2832100"/>
            </a:xfrm>
            <a:prstGeom prst="straightConnector1">
              <a:avLst/>
            </a:prstGeom>
            <a:ln w="9525">
              <a:solidFill>
                <a:srgbClr val="7F7F7F"/>
              </a:solidFill>
              <a:prstDash val="solid"/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/>
            <p:cNvCxnSpPr/>
            <p:nvPr/>
          </p:nvCxnSpPr>
          <p:spPr>
            <a:xfrm rot="5400000">
              <a:off x="2854325" y="4347728"/>
              <a:ext cx="0" cy="2825750"/>
            </a:xfrm>
            <a:prstGeom prst="straightConnector1">
              <a:avLst/>
            </a:prstGeom>
            <a:ln w="9525">
              <a:solidFill>
                <a:srgbClr val="7F7F7F"/>
              </a:solidFill>
              <a:prstDash val="solid"/>
              <a:miter lim="800000"/>
              <a:headEnd type="triangle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TextBox 101"/>
            <p:cNvSpPr txBox="1"/>
            <p:nvPr/>
          </p:nvSpPr>
          <p:spPr>
            <a:xfrm>
              <a:off x="862445" y="2782054"/>
              <a:ext cx="446809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High</a:t>
              </a: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862445" y="5371011"/>
              <a:ext cx="446809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Low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1210396" y="5857498"/>
              <a:ext cx="683246" cy="15979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Low</a:t>
              </a: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3934403" y="5857498"/>
              <a:ext cx="446809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High</a:t>
              </a:r>
            </a:p>
          </p:txBody>
        </p:sp>
        <p:cxnSp>
          <p:nvCxnSpPr>
            <p:cNvPr id="106" name="Straight Connector 105"/>
            <p:cNvCxnSpPr>
              <a:stCxn id="113" idx="0"/>
              <a:endCxn id="115" idx="2"/>
            </p:cNvCxnSpPr>
            <p:nvPr/>
          </p:nvCxnSpPr>
          <p:spPr>
            <a:xfrm>
              <a:off x="2858771" y="2806700"/>
              <a:ext cx="11147" cy="2824956"/>
            </a:xfrm>
            <a:prstGeom prst="line">
              <a:avLst/>
            </a:prstGeom>
            <a:ln w="9525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>
              <a:stCxn id="113" idx="3"/>
              <a:endCxn id="113" idx="1"/>
            </p:cNvCxnSpPr>
            <p:nvPr/>
          </p:nvCxnSpPr>
          <p:spPr>
            <a:xfrm flipH="1">
              <a:off x="1441450" y="4222750"/>
              <a:ext cx="2834640" cy="0"/>
            </a:xfrm>
            <a:prstGeom prst="line">
              <a:avLst/>
            </a:prstGeom>
            <a:ln w="9525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/>
            <p:cNvSpPr txBox="1"/>
            <p:nvPr/>
          </p:nvSpPr>
          <p:spPr>
            <a:xfrm rot="16200000">
              <a:off x="723393" y="4139650"/>
              <a:ext cx="724916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Criticality</a:t>
              </a: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2351087" y="6023698"/>
              <a:ext cx="1006476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200" dirty="0"/>
                <a:t>Spend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670238" y="5128204"/>
              <a:ext cx="446809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accent6"/>
                  </a:solidFill>
                </a:rPr>
                <a:t>Tier 3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2636959" y="4136078"/>
              <a:ext cx="446809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accent6"/>
                  </a:solidFill>
                </a:rPr>
                <a:t>Tier 2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3588024" y="3190593"/>
              <a:ext cx="446809" cy="1661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sz="1400" dirty="0">
                  <a:solidFill>
                    <a:schemeClr val="accent6"/>
                  </a:solidFill>
                </a:rPr>
                <a:t>Tier 1</a:t>
              </a: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4525025" y="2095494"/>
            <a:ext cx="306171" cy="4079081"/>
            <a:chOff x="5942914" y="2081213"/>
            <a:chExt cx="306171" cy="4079081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8" name="Group 117"/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119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20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4963362" y="2104245"/>
            <a:ext cx="6443071" cy="4083273"/>
            <a:chOff x="4963362" y="2107977"/>
            <a:chExt cx="6443071" cy="3677521"/>
          </a:xfrm>
        </p:grpSpPr>
        <p:sp>
          <p:nvSpPr>
            <p:cNvPr id="47" name="Rectangle 3"/>
            <p:cNvSpPr>
              <a:spLocks noChangeArrowheads="1"/>
            </p:cNvSpPr>
            <p:nvPr/>
          </p:nvSpPr>
          <p:spPr bwMode="gray">
            <a:xfrm>
              <a:off x="5338036" y="2107977"/>
              <a:ext cx="2301038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C8C8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VP or its representative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Technical authority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User area manag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ead of SCM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Category lead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Project Service Offic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rea specialists: CSR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Laboral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etc.</a:t>
              </a:r>
            </a:p>
          </p:txBody>
        </p:sp>
        <p:sp>
          <p:nvSpPr>
            <p:cNvPr id="50" name="Text Box 16"/>
            <p:cNvSpPr txBox="1">
              <a:spLocks noChangeArrowheads="1"/>
            </p:cNvSpPr>
            <p:nvPr/>
          </p:nvSpPr>
          <p:spPr bwMode="gray">
            <a:xfrm>
              <a:off x="9860069" y="2107977"/>
              <a:ext cx="1546364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C8C8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chemeClr val="lt1"/>
                  </a:solidFill>
                </a:defRPr>
              </a:lvl1pPr>
              <a:lvl2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Every six months</a:t>
              </a:r>
            </a:p>
          </p:txBody>
        </p:sp>
        <p:sp>
          <p:nvSpPr>
            <p:cNvPr id="51" name="Text Box 17"/>
            <p:cNvSpPr txBox="1">
              <a:spLocks noChangeArrowheads="1"/>
            </p:cNvSpPr>
            <p:nvPr/>
          </p:nvSpPr>
          <p:spPr bwMode="gray">
            <a:xfrm>
              <a:off x="9860069" y="3382171"/>
              <a:ext cx="1546364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BC5D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chemeClr val="lt1"/>
                  </a:solidFill>
                </a:defRPr>
              </a:lvl1pPr>
              <a:lvl2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buSzPct val="100000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nnual</a:t>
              </a:r>
            </a:p>
          </p:txBody>
        </p:sp>
        <p:sp>
          <p:nvSpPr>
            <p:cNvPr id="52" name="Rectangle 18"/>
            <p:cNvSpPr>
              <a:spLocks noChangeArrowheads="1"/>
            </p:cNvSpPr>
            <p:nvPr/>
          </p:nvSpPr>
          <p:spPr bwMode="gray">
            <a:xfrm>
              <a:off x="5338036" y="3382171"/>
              <a:ext cx="2301038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BC5D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Technical authority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User area manag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Category lead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Category specialist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Project Service Offic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rea specialists: CSR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etc.</a:t>
              </a:r>
            </a:p>
          </p:txBody>
        </p:sp>
        <p:sp>
          <p:nvSpPr>
            <p:cNvPr id="62" name="Text Box 17"/>
            <p:cNvSpPr txBox="1">
              <a:spLocks noChangeArrowheads="1"/>
            </p:cNvSpPr>
            <p:nvPr/>
          </p:nvSpPr>
          <p:spPr bwMode="gray">
            <a:xfrm>
              <a:off x="9860069" y="4656365"/>
              <a:ext cx="1546364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chemeClr val="lt1"/>
                  </a:solidFill>
                </a:defRPr>
              </a:lvl1pPr>
              <a:lvl2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buSzPct val="100000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t end of contract/PO (or as needed)</a:t>
              </a:r>
            </a:p>
          </p:txBody>
        </p:sp>
        <p:sp>
          <p:nvSpPr>
            <p:cNvPr id="64" name="Rectangle 18"/>
            <p:cNvSpPr>
              <a:spLocks noChangeArrowheads="1"/>
            </p:cNvSpPr>
            <p:nvPr/>
          </p:nvSpPr>
          <p:spPr bwMode="gray">
            <a:xfrm>
              <a:off x="5338036" y="4656365"/>
              <a:ext cx="2301038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Final us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Category Specialist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Project Service Offic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rea specialists as required: CSR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etc.</a:t>
              </a:r>
            </a:p>
          </p:txBody>
        </p:sp>
        <p:sp>
          <p:nvSpPr>
            <p:cNvPr id="67" name="Rectangle 3"/>
            <p:cNvSpPr>
              <a:spLocks noChangeArrowheads="1"/>
            </p:cNvSpPr>
            <p:nvPr/>
          </p:nvSpPr>
          <p:spPr bwMode="gray">
            <a:xfrm>
              <a:off x="7719903" y="2107977"/>
              <a:ext cx="2077561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C8C8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VP or General Manager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ccount manager 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rea specialists: CSR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etc.</a:t>
              </a:r>
            </a:p>
          </p:txBody>
        </p:sp>
        <p:sp>
          <p:nvSpPr>
            <p:cNvPr id="68" name="Rectangle 3"/>
            <p:cNvSpPr>
              <a:spLocks noChangeArrowheads="1"/>
            </p:cNvSpPr>
            <p:nvPr/>
          </p:nvSpPr>
          <p:spPr bwMode="gray">
            <a:xfrm>
              <a:off x="7719903" y="3382170"/>
              <a:ext cx="2077561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BC5D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ccount manager 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rea specialists: CSR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etc.</a:t>
              </a:r>
            </a:p>
          </p:txBody>
        </p:sp>
        <p:sp>
          <p:nvSpPr>
            <p:cNvPr id="69" name="Rectangle 3"/>
            <p:cNvSpPr>
              <a:spLocks noChangeArrowheads="1"/>
            </p:cNvSpPr>
            <p:nvPr/>
          </p:nvSpPr>
          <p:spPr bwMode="gray">
            <a:xfrm>
              <a:off x="7719903" y="4652989"/>
              <a:ext cx="2077561" cy="1129133"/>
            </a:xfrm>
            <a:prstGeom prst="rect">
              <a:avLst/>
            </a:prstGeom>
            <a:noFill/>
            <a:ln w="6350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>
                      <a:lumMod val="40000"/>
                      <a:lumOff val="6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ccount manager </a:t>
              </a:r>
            </a:p>
            <a:p>
              <a:pPr marL="194400" lvl="1" indent="-129600">
                <a:buClr>
                  <a:srgbClr val="7F7F7F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Area specialists: CSR, </a:t>
              </a:r>
              <a:r>
                <a:rPr lang="en-US" altLang="es-CO" sz="1050" dirty="0" err="1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HSEQ</a:t>
              </a:r>
              <a:r>
                <a:rPr lang="en-US" altLang="es-CO" sz="1050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, etc.</a:t>
              </a:r>
            </a:p>
          </p:txBody>
        </p:sp>
        <p:sp>
          <p:nvSpPr>
            <p:cNvPr id="5" name="Rectangle 4"/>
            <p:cNvSpPr/>
            <p:nvPr/>
          </p:nvSpPr>
          <p:spPr>
            <a:xfrm rot="16200000">
              <a:off x="4718047" y="2524490"/>
              <a:ext cx="786735" cy="2961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rgbClr val="38468F"/>
                  </a:solidFill>
                </a:rPr>
                <a:t>Tier 1</a:t>
              </a:r>
            </a:p>
          </p:txBody>
        </p:sp>
        <p:sp>
          <p:nvSpPr>
            <p:cNvPr id="122" name="Rectangle 121"/>
            <p:cNvSpPr/>
            <p:nvPr/>
          </p:nvSpPr>
          <p:spPr>
            <a:xfrm rot="16200000">
              <a:off x="4718048" y="3798684"/>
              <a:ext cx="786735" cy="2961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rgbClr val="38468F"/>
                  </a:solidFill>
                </a:rPr>
                <a:t>Tier 2</a:t>
              </a:r>
            </a:p>
          </p:txBody>
        </p:sp>
        <p:sp>
          <p:nvSpPr>
            <p:cNvPr id="123" name="Rectangle 122"/>
            <p:cNvSpPr/>
            <p:nvPr/>
          </p:nvSpPr>
          <p:spPr>
            <a:xfrm rot="16200000">
              <a:off x="4718049" y="5072878"/>
              <a:ext cx="786735" cy="2961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rgbClr val="38468F"/>
                  </a:solidFill>
                </a:rPr>
                <a:t>Tier 3</a:t>
              </a:r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989310" y="2013874"/>
            <a:ext cx="3134925" cy="215444"/>
          </a:xfrm>
          <a:prstGeom prst="rect">
            <a:avLst/>
          </a:prstGeom>
          <a:noFill/>
        </p:spPr>
        <p:txBody>
          <a:bodyPr wrap="square" lIns="87480" tIns="0" rIns="0" bIns="0" rtlCol="0" anchor="ctr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B6187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buNone/>
            </a:pPr>
            <a:r>
              <a:rPr lang="en-US" sz="1400" dirty="0"/>
              <a:t>Supplier segmentation matrix</a:t>
            </a:r>
          </a:p>
        </p:txBody>
      </p:sp>
      <p:sp>
        <p:nvSpPr>
          <p:cNvPr id="46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8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upplier Performance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49" name="NavigationIcon"/>
          <p:cNvSpPr>
            <a:spLocks noChangeAspect="1"/>
          </p:cNvSpPr>
          <p:nvPr/>
        </p:nvSpPr>
        <p:spPr bwMode="auto">
          <a:xfrm>
            <a:off x="11689486" y="132877"/>
            <a:ext cx="367877" cy="365760"/>
          </a:xfrm>
          <a:custGeom>
            <a:avLst/>
            <a:gdLst>
              <a:gd name="connsiteX0" fmla="*/ 627062 w 1103313"/>
              <a:gd name="connsiteY0" fmla="*/ 808037 h 1096963"/>
              <a:gd name="connsiteX1" fmla="*/ 876412 w 1103313"/>
              <a:gd name="connsiteY1" fmla="*/ 808037 h 1096963"/>
              <a:gd name="connsiteX2" fmla="*/ 892175 w 1103313"/>
              <a:gd name="connsiteY2" fmla="*/ 823119 h 1096963"/>
              <a:gd name="connsiteX3" fmla="*/ 876412 w 1103313"/>
              <a:gd name="connsiteY3" fmla="*/ 838200 h 1096963"/>
              <a:gd name="connsiteX4" fmla="*/ 627062 w 1103313"/>
              <a:gd name="connsiteY4" fmla="*/ 838200 h 1096963"/>
              <a:gd name="connsiteX5" fmla="*/ 627062 w 1103313"/>
              <a:gd name="connsiteY5" fmla="*/ 808037 h 1096963"/>
              <a:gd name="connsiteX6" fmla="*/ 228361 w 1103313"/>
              <a:gd name="connsiteY6" fmla="*/ 808037 h 1096963"/>
              <a:gd name="connsiteX7" fmla="*/ 382588 w 1103313"/>
              <a:gd name="connsiteY7" fmla="*/ 808037 h 1096963"/>
              <a:gd name="connsiteX8" fmla="*/ 382588 w 1103313"/>
              <a:gd name="connsiteY8" fmla="*/ 838200 h 1096963"/>
              <a:gd name="connsiteX9" fmla="*/ 228361 w 1103313"/>
              <a:gd name="connsiteY9" fmla="*/ 838200 h 1096963"/>
              <a:gd name="connsiteX10" fmla="*/ 212725 w 1103313"/>
              <a:gd name="connsiteY10" fmla="*/ 823119 h 1096963"/>
              <a:gd name="connsiteX11" fmla="*/ 228361 w 1103313"/>
              <a:gd name="connsiteY11" fmla="*/ 808037 h 1096963"/>
              <a:gd name="connsiteX12" fmla="*/ 430087 w 1103313"/>
              <a:gd name="connsiteY12" fmla="*/ 731837 h 1096963"/>
              <a:gd name="connsiteX13" fmla="*/ 581149 w 1103313"/>
              <a:gd name="connsiteY13" fmla="*/ 731837 h 1096963"/>
              <a:gd name="connsiteX14" fmla="*/ 596899 w 1103313"/>
              <a:gd name="connsiteY14" fmla="*/ 747588 h 1096963"/>
              <a:gd name="connsiteX15" fmla="*/ 596899 w 1103313"/>
              <a:gd name="connsiteY15" fmla="*/ 807010 h 1096963"/>
              <a:gd name="connsiteX16" fmla="*/ 596899 w 1103313"/>
              <a:gd name="connsiteY16" fmla="*/ 838511 h 1096963"/>
              <a:gd name="connsiteX17" fmla="*/ 596899 w 1103313"/>
              <a:gd name="connsiteY17" fmla="*/ 898650 h 1096963"/>
              <a:gd name="connsiteX18" fmla="*/ 581149 w 1103313"/>
              <a:gd name="connsiteY18" fmla="*/ 914400 h 1096963"/>
              <a:gd name="connsiteX19" fmla="*/ 430087 w 1103313"/>
              <a:gd name="connsiteY19" fmla="*/ 914400 h 1096963"/>
              <a:gd name="connsiteX20" fmla="*/ 414336 w 1103313"/>
              <a:gd name="connsiteY20" fmla="*/ 898650 h 1096963"/>
              <a:gd name="connsiteX21" fmla="*/ 414336 w 1103313"/>
              <a:gd name="connsiteY21" fmla="*/ 838511 h 1096963"/>
              <a:gd name="connsiteX22" fmla="*/ 414336 w 1103313"/>
              <a:gd name="connsiteY22" fmla="*/ 807010 h 1096963"/>
              <a:gd name="connsiteX23" fmla="*/ 414336 w 1103313"/>
              <a:gd name="connsiteY23" fmla="*/ 747588 h 1096963"/>
              <a:gd name="connsiteX24" fmla="*/ 430087 w 1103313"/>
              <a:gd name="connsiteY24" fmla="*/ 731837 h 1096963"/>
              <a:gd name="connsiteX25" fmla="*/ 722312 w 1103313"/>
              <a:gd name="connsiteY25" fmla="*/ 531812 h 1096963"/>
              <a:gd name="connsiteX26" fmla="*/ 876474 w 1103313"/>
              <a:gd name="connsiteY26" fmla="*/ 531812 h 1096963"/>
              <a:gd name="connsiteX27" fmla="*/ 892175 w 1103313"/>
              <a:gd name="connsiteY27" fmla="*/ 546894 h 1096963"/>
              <a:gd name="connsiteX28" fmla="*/ 876474 w 1103313"/>
              <a:gd name="connsiteY28" fmla="*/ 561975 h 1096963"/>
              <a:gd name="connsiteX29" fmla="*/ 722312 w 1103313"/>
              <a:gd name="connsiteY29" fmla="*/ 561975 h 1096963"/>
              <a:gd name="connsiteX30" fmla="*/ 722312 w 1103313"/>
              <a:gd name="connsiteY30" fmla="*/ 531812 h 1096963"/>
              <a:gd name="connsiteX31" fmla="*/ 228352 w 1103313"/>
              <a:gd name="connsiteY31" fmla="*/ 531812 h 1096963"/>
              <a:gd name="connsiteX32" fmla="*/ 476250 w 1103313"/>
              <a:gd name="connsiteY32" fmla="*/ 531812 h 1096963"/>
              <a:gd name="connsiteX33" fmla="*/ 476250 w 1103313"/>
              <a:gd name="connsiteY33" fmla="*/ 561975 h 1096963"/>
              <a:gd name="connsiteX34" fmla="*/ 228352 w 1103313"/>
              <a:gd name="connsiteY34" fmla="*/ 561975 h 1096963"/>
              <a:gd name="connsiteX35" fmla="*/ 212725 w 1103313"/>
              <a:gd name="connsiteY35" fmla="*/ 546894 h 1096963"/>
              <a:gd name="connsiteX36" fmla="*/ 228352 w 1103313"/>
              <a:gd name="connsiteY36" fmla="*/ 531812 h 1096963"/>
              <a:gd name="connsiteX37" fmla="*/ 523750 w 1103313"/>
              <a:gd name="connsiteY37" fmla="*/ 455612 h 1096963"/>
              <a:gd name="connsiteX38" fmla="*/ 674812 w 1103313"/>
              <a:gd name="connsiteY38" fmla="*/ 455612 h 1096963"/>
              <a:gd name="connsiteX39" fmla="*/ 690562 w 1103313"/>
              <a:gd name="connsiteY39" fmla="*/ 471363 h 1096963"/>
              <a:gd name="connsiteX40" fmla="*/ 690562 w 1103313"/>
              <a:gd name="connsiteY40" fmla="*/ 530785 h 1096963"/>
              <a:gd name="connsiteX41" fmla="*/ 690562 w 1103313"/>
              <a:gd name="connsiteY41" fmla="*/ 562286 h 1096963"/>
              <a:gd name="connsiteX42" fmla="*/ 690562 w 1103313"/>
              <a:gd name="connsiteY42" fmla="*/ 622425 h 1096963"/>
              <a:gd name="connsiteX43" fmla="*/ 674812 w 1103313"/>
              <a:gd name="connsiteY43" fmla="*/ 638175 h 1096963"/>
              <a:gd name="connsiteX44" fmla="*/ 523750 w 1103313"/>
              <a:gd name="connsiteY44" fmla="*/ 638175 h 1096963"/>
              <a:gd name="connsiteX45" fmla="*/ 507999 w 1103313"/>
              <a:gd name="connsiteY45" fmla="*/ 622425 h 1096963"/>
              <a:gd name="connsiteX46" fmla="*/ 507999 w 1103313"/>
              <a:gd name="connsiteY46" fmla="*/ 562286 h 1096963"/>
              <a:gd name="connsiteX47" fmla="*/ 507999 w 1103313"/>
              <a:gd name="connsiteY47" fmla="*/ 530785 h 1096963"/>
              <a:gd name="connsiteX48" fmla="*/ 507999 w 1103313"/>
              <a:gd name="connsiteY48" fmla="*/ 471363 h 1096963"/>
              <a:gd name="connsiteX49" fmla="*/ 523750 w 1103313"/>
              <a:gd name="connsiteY49" fmla="*/ 455612 h 1096963"/>
              <a:gd name="connsiteX50" fmla="*/ 627062 w 1103313"/>
              <a:gd name="connsiteY50" fmla="*/ 255587 h 1096963"/>
              <a:gd name="connsiteX51" fmla="*/ 876412 w 1103313"/>
              <a:gd name="connsiteY51" fmla="*/ 255587 h 1096963"/>
              <a:gd name="connsiteX52" fmla="*/ 892175 w 1103313"/>
              <a:gd name="connsiteY52" fmla="*/ 270669 h 1096963"/>
              <a:gd name="connsiteX53" fmla="*/ 876412 w 1103313"/>
              <a:gd name="connsiteY53" fmla="*/ 285750 h 1096963"/>
              <a:gd name="connsiteX54" fmla="*/ 627062 w 1103313"/>
              <a:gd name="connsiteY54" fmla="*/ 285750 h 1096963"/>
              <a:gd name="connsiteX55" fmla="*/ 627062 w 1103313"/>
              <a:gd name="connsiteY55" fmla="*/ 255587 h 1096963"/>
              <a:gd name="connsiteX56" fmla="*/ 228361 w 1103313"/>
              <a:gd name="connsiteY56" fmla="*/ 255587 h 1096963"/>
              <a:gd name="connsiteX57" fmla="*/ 382588 w 1103313"/>
              <a:gd name="connsiteY57" fmla="*/ 255587 h 1096963"/>
              <a:gd name="connsiteX58" fmla="*/ 382588 w 1103313"/>
              <a:gd name="connsiteY58" fmla="*/ 285750 h 1096963"/>
              <a:gd name="connsiteX59" fmla="*/ 228361 w 1103313"/>
              <a:gd name="connsiteY59" fmla="*/ 285750 h 1096963"/>
              <a:gd name="connsiteX60" fmla="*/ 212725 w 1103313"/>
              <a:gd name="connsiteY60" fmla="*/ 270669 h 1096963"/>
              <a:gd name="connsiteX61" fmla="*/ 228361 w 1103313"/>
              <a:gd name="connsiteY61" fmla="*/ 255587 h 1096963"/>
              <a:gd name="connsiteX62" fmla="*/ 430087 w 1103313"/>
              <a:gd name="connsiteY62" fmla="*/ 179387 h 1096963"/>
              <a:gd name="connsiteX63" fmla="*/ 581149 w 1103313"/>
              <a:gd name="connsiteY63" fmla="*/ 179387 h 1096963"/>
              <a:gd name="connsiteX64" fmla="*/ 596899 w 1103313"/>
              <a:gd name="connsiteY64" fmla="*/ 195138 h 1096963"/>
              <a:gd name="connsiteX65" fmla="*/ 596899 w 1103313"/>
              <a:gd name="connsiteY65" fmla="*/ 254560 h 1096963"/>
              <a:gd name="connsiteX66" fmla="*/ 596899 w 1103313"/>
              <a:gd name="connsiteY66" fmla="*/ 286061 h 1096963"/>
              <a:gd name="connsiteX67" fmla="*/ 596899 w 1103313"/>
              <a:gd name="connsiteY67" fmla="*/ 346200 h 1096963"/>
              <a:gd name="connsiteX68" fmla="*/ 581149 w 1103313"/>
              <a:gd name="connsiteY68" fmla="*/ 361950 h 1096963"/>
              <a:gd name="connsiteX69" fmla="*/ 430087 w 1103313"/>
              <a:gd name="connsiteY69" fmla="*/ 361950 h 1096963"/>
              <a:gd name="connsiteX70" fmla="*/ 414336 w 1103313"/>
              <a:gd name="connsiteY70" fmla="*/ 346200 h 1096963"/>
              <a:gd name="connsiteX71" fmla="*/ 414336 w 1103313"/>
              <a:gd name="connsiteY71" fmla="*/ 286061 h 1096963"/>
              <a:gd name="connsiteX72" fmla="*/ 414336 w 1103313"/>
              <a:gd name="connsiteY72" fmla="*/ 254560 h 1096963"/>
              <a:gd name="connsiteX73" fmla="*/ 414336 w 1103313"/>
              <a:gd name="connsiteY73" fmla="*/ 195138 h 1096963"/>
              <a:gd name="connsiteX74" fmla="*/ 430087 w 1103313"/>
              <a:gd name="connsiteY74" fmla="*/ 179387 h 1096963"/>
              <a:gd name="connsiteX75" fmla="*/ 36512 w 1103313"/>
              <a:gd name="connsiteY75" fmla="*/ 36512 h 1096963"/>
              <a:gd name="connsiteX76" fmla="*/ 36512 w 1103313"/>
              <a:gd name="connsiteY76" fmla="*/ 1058862 h 1096963"/>
              <a:gd name="connsiteX77" fmla="*/ 1066800 w 1103313"/>
              <a:gd name="connsiteY77" fmla="*/ 1058862 h 1096963"/>
              <a:gd name="connsiteX78" fmla="*/ 1066800 w 1103313"/>
              <a:gd name="connsiteY78" fmla="*/ 36512 h 1096963"/>
              <a:gd name="connsiteX79" fmla="*/ 34234 w 1103313"/>
              <a:gd name="connsiteY79" fmla="*/ 0 h 1096963"/>
              <a:gd name="connsiteX80" fmla="*/ 1069080 w 1103313"/>
              <a:gd name="connsiteY80" fmla="*/ 0 h 1096963"/>
              <a:gd name="connsiteX81" fmla="*/ 1103313 w 1103313"/>
              <a:gd name="connsiteY81" fmla="*/ 34258 h 1096963"/>
              <a:gd name="connsiteX82" fmla="*/ 1103313 w 1103313"/>
              <a:gd name="connsiteY82" fmla="*/ 1062705 h 1096963"/>
              <a:gd name="connsiteX83" fmla="*/ 1069080 w 1103313"/>
              <a:gd name="connsiteY83" fmla="*/ 1096963 h 1096963"/>
              <a:gd name="connsiteX84" fmla="*/ 34234 w 1103313"/>
              <a:gd name="connsiteY84" fmla="*/ 1096963 h 1096963"/>
              <a:gd name="connsiteX85" fmla="*/ 0 w 1103313"/>
              <a:gd name="connsiteY85" fmla="*/ 1062705 h 1096963"/>
              <a:gd name="connsiteX86" fmla="*/ 0 w 1103313"/>
              <a:gd name="connsiteY86" fmla="*/ 34258 h 1096963"/>
              <a:gd name="connsiteX87" fmla="*/ 34234 w 1103313"/>
              <a:gd name="connsiteY87" fmla="*/ 0 h 109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103313" h="1096963">
                <a:moveTo>
                  <a:pt x="627062" y="808037"/>
                </a:moveTo>
                <a:cubicBezTo>
                  <a:pt x="627062" y="808037"/>
                  <a:pt x="627062" y="808037"/>
                  <a:pt x="876412" y="808037"/>
                </a:cubicBezTo>
                <a:cubicBezTo>
                  <a:pt x="885010" y="808037"/>
                  <a:pt x="892175" y="814892"/>
                  <a:pt x="892175" y="823119"/>
                </a:cubicBezTo>
                <a:cubicBezTo>
                  <a:pt x="892175" y="832030"/>
                  <a:pt x="885010" y="838200"/>
                  <a:pt x="876412" y="838200"/>
                </a:cubicBezTo>
                <a:cubicBezTo>
                  <a:pt x="876412" y="838200"/>
                  <a:pt x="876412" y="838200"/>
                  <a:pt x="627062" y="838200"/>
                </a:cubicBezTo>
                <a:cubicBezTo>
                  <a:pt x="627062" y="838200"/>
                  <a:pt x="627062" y="838200"/>
                  <a:pt x="627062" y="808037"/>
                </a:cubicBezTo>
                <a:close/>
                <a:moveTo>
                  <a:pt x="228361" y="808037"/>
                </a:moveTo>
                <a:cubicBezTo>
                  <a:pt x="228361" y="808037"/>
                  <a:pt x="228361" y="808037"/>
                  <a:pt x="382588" y="808037"/>
                </a:cubicBezTo>
                <a:cubicBezTo>
                  <a:pt x="382588" y="808037"/>
                  <a:pt x="382588" y="808037"/>
                  <a:pt x="382588" y="838200"/>
                </a:cubicBezTo>
                <a:cubicBezTo>
                  <a:pt x="382588" y="838200"/>
                  <a:pt x="382588" y="838200"/>
                  <a:pt x="228361" y="838200"/>
                </a:cubicBezTo>
                <a:cubicBezTo>
                  <a:pt x="219832" y="838200"/>
                  <a:pt x="212725" y="832030"/>
                  <a:pt x="212725" y="823119"/>
                </a:cubicBezTo>
                <a:cubicBezTo>
                  <a:pt x="212725" y="814892"/>
                  <a:pt x="219832" y="808037"/>
                  <a:pt x="228361" y="808037"/>
                </a:cubicBezTo>
                <a:close/>
                <a:moveTo>
                  <a:pt x="430087" y="731837"/>
                </a:moveTo>
                <a:cubicBezTo>
                  <a:pt x="430087" y="731837"/>
                  <a:pt x="430087" y="731837"/>
                  <a:pt x="581149" y="731837"/>
                </a:cubicBezTo>
                <a:cubicBezTo>
                  <a:pt x="589740" y="731837"/>
                  <a:pt x="596899" y="738996"/>
                  <a:pt x="596899" y="747588"/>
                </a:cubicBezTo>
                <a:cubicBezTo>
                  <a:pt x="596899" y="747588"/>
                  <a:pt x="596899" y="747588"/>
                  <a:pt x="596899" y="807010"/>
                </a:cubicBezTo>
                <a:cubicBezTo>
                  <a:pt x="596899" y="807010"/>
                  <a:pt x="596899" y="807010"/>
                  <a:pt x="596899" y="838511"/>
                </a:cubicBezTo>
                <a:cubicBezTo>
                  <a:pt x="596899" y="838511"/>
                  <a:pt x="596899" y="838511"/>
                  <a:pt x="596899" y="898650"/>
                </a:cubicBezTo>
                <a:cubicBezTo>
                  <a:pt x="596899" y="907241"/>
                  <a:pt x="589740" y="914400"/>
                  <a:pt x="581149" y="914400"/>
                </a:cubicBezTo>
                <a:cubicBezTo>
                  <a:pt x="581149" y="914400"/>
                  <a:pt x="581149" y="914400"/>
                  <a:pt x="430087" y="914400"/>
                </a:cubicBezTo>
                <a:cubicBezTo>
                  <a:pt x="420780" y="914400"/>
                  <a:pt x="414336" y="907241"/>
                  <a:pt x="414336" y="898650"/>
                </a:cubicBezTo>
                <a:cubicBezTo>
                  <a:pt x="414336" y="898650"/>
                  <a:pt x="414336" y="898650"/>
                  <a:pt x="414336" y="838511"/>
                </a:cubicBezTo>
                <a:cubicBezTo>
                  <a:pt x="414336" y="838511"/>
                  <a:pt x="414336" y="838511"/>
                  <a:pt x="414336" y="807010"/>
                </a:cubicBezTo>
                <a:cubicBezTo>
                  <a:pt x="414336" y="807010"/>
                  <a:pt x="414336" y="807010"/>
                  <a:pt x="414336" y="747588"/>
                </a:cubicBezTo>
                <a:cubicBezTo>
                  <a:pt x="414336" y="738996"/>
                  <a:pt x="420780" y="731837"/>
                  <a:pt x="430087" y="731837"/>
                </a:cubicBezTo>
                <a:close/>
                <a:moveTo>
                  <a:pt x="722312" y="531812"/>
                </a:moveTo>
                <a:cubicBezTo>
                  <a:pt x="722312" y="531812"/>
                  <a:pt x="722312" y="531812"/>
                  <a:pt x="876474" y="531812"/>
                </a:cubicBezTo>
                <a:cubicBezTo>
                  <a:pt x="885038" y="531812"/>
                  <a:pt x="892175" y="538667"/>
                  <a:pt x="892175" y="546894"/>
                </a:cubicBezTo>
                <a:cubicBezTo>
                  <a:pt x="892175" y="555805"/>
                  <a:pt x="885038" y="561975"/>
                  <a:pt x="876474" y="561975"/>
                </a:cubicBezTo>
                <a:cubicBezTo>
                  <a:pt x="876474" y="561975"/>
                  <a:pt x="876474" y="561975"/>
                  <a:pt x="722312" y="561975"/>
                </a:cubicBezTo>
                <a:cubicBezTo>
                  <a:pt x="722312" y="561975"/>
                  <a:pt x="722312" y="561975"/>
                  <a:pt x="722312" y="531812"/>
                </a:cubicBezTo>
                <a:close/>
                <a:moveTo>
                  <a:pt x="228352" y="531812"/>
                </a:moveTo>
                <a:cubicBezTo>
                  <a:pt x="228352" y="531812"/>
                  <a:pt x="228352" y="531812"/>
                  <a:pt x="476250" y="531812"/>
                </a:cubicBezTo>
                <a:cubicBezTo>
                  <a:pt x="476250" y="531812"/>
                  <a:pt x="476250" y="531812"/>
                  <a:pt x="476250" y="561975"/>
                </a:cubicBezTo>
                <a:cubicBezTo>
                  <a:pt x="476250" y="561975"/>
                  <a:pt x="476250" y="561975"/>
                  <a:pt x="228352" y="561975"/>
                </a:cubicBezTo>
                <a:cubicBezTo>
                  <a:pt x="219828" y="561975"/>
                  <a:pt x="212725" y="555805"/>
                  <a:pt x="212725" y="546894"/>
                </a:cubicBezTo>
                <a:cubicBezTo>
                  <a:pt x="212725" y="538667"/>
                  <a:pt x="219828" y="531812"/>
                  <a:pt x="228352" y="531812"/>
                </a:cubicBezTo>
                <a:close/>
                <a:moveTo>
                  <a:pt x="523750" y="455612"/>
                </a:moveTo>
                <a:cubicBezTo>
                  <a:pt x="523750" y="455612"/>
                  <a:pt x="523750" y="455612"/>
                  <a:pt x="674812" y="455612"/>
                </a:cubicBezTo>
                <a:cubicBezTo>
                  <a:pt x="683403" y="455612"/>
                  <a:pt x="690562" y="462771"/>
                  <a:pt x="690562" y="471363"/>
                </a:cubicBezTo>
                <a:cubicBezTo>
                  <a:pt x="690562" y="471363"/>
                  <a:pt x="690562" y="471363"/>
                  <a:pt x="690562" y="530785"/>
                </a:cubicBezTo>
                <a:cubicBezTo>
                  <a:pt x="690562" y="530785"/>
                  <a:pt x="690562" y="530785"/>
                  <a:pt x="690562" y="562286"/>
                </a:cubicBezTo>
                <a:cubicBezTo>
                  <a:pt x="690562" y="562286"/>
                  <a:pt x="690562" y="562286"/>
                  <a:pt x="690562" y="622425"/>
                </a:cubicBezTo>
                <a:cubicBezTo>
                  <a:pt x="690562" y="631016"/>
                  <a:pt x="683403" y="638175"/>
                  <a:pt x="674812" y="638175"/>
                </a:cubicBezTo>
                <a:cubicBezTo>
                  <a:pt x="674812" y="638175"/>
                  <a:pt x="674812" y="638175"/>
                  <a:pt x="523750" y="638175"/>
                </a:cubicBezTo>
                <a:cubicBezTo>
                  <a:pt x="514443" y="638175"/>
                  <a:pt x="507999" y="631016"/>
                  <a:pt x="507999" y="622425"/>
                </a:cubicBezTo>
                <a:cubicBezTo>
                  <a:pt x="507999" y="622425"/>
                  <a:pt x="507999" y="622425"/>
                  <a:pt x="507999" y="562286"/>
                </a:cubicBezTo>
                <a:cubicBezTo>
                  <a:pt x="507999" y="562286"/>
                  <a:pt x="507999" y="562286"/>
                  <a:pt x="507999" y="530785"/>
                </a:cubicBezTo>
                <a:cubicBezTo>
                  <a:pt x="507999" y="530785"/>
                  <a:pt x="507999" y="530785"/>
                  <a:pt x="507999" y="471363"/>
                </a:cubicBezTo>
                <a:cubicBezTo>
                  <a:pt x="507999" y="462771"/>
                  <a:pt x="514443" y="455612"/>
                  <a:pt x="523750" y="455612"/>
                </a:cubicBezTo>
                <a:close/>
                <a:moveTo>
                  <a:pt x="627062" y="255587"/>
                </a:moveTo>
                <a:cubicBezTo>
                  <a:pt x="627062" y="255587"/>
                  <a:pt x="627062" y="255587"/>
                  <a:pt x="876412" y="255587"/>
                </a:cubicBezTo>
                <a:cubicBezTo>
                  <a:pt x="885010" y="255587"/>
                  <a:pt x="892175" y="262442"/>
                  <a:pt x="892175" y="270669"/>
                </a:cubicBezTo>
                <a:cubicBezTo>
                  <a:pt x="892175" y="279580"/>
                  <a:pt x="885010" y="285750"/>
                  <a:pt x="876412" y="285750"/>
                </a:cubicBezTo>
                <a:cubicBezTo>
                  <a:pt x="876412" y="285750"/>
                  <a:pt x="876412" y="285750"/>
                  <a:pt x="627062" y="285750"/>
                </a:cubicBezTo>
                <a:cubicBezTo>
                  <a:pt x="627062" y="285750"/>
                  <a:pt x="627062" y="285750"/>
                  <a:pt x="627062" y="255587"/>
                </a:cubicBezTo>
                <a:close/>
                <a:moveTo>
                  <a:pt x="228361" y="255587"/>
                </a:moveTo>
                <a:cubicBezTo>
                  <a:pt x="228361" y="255587"/>
                  <a:pt x="228361" y="255587"/>
                  <a:pt x="382588" y="255587"/>
                </a:cubicBezTo>
                <a:cubicBezTo>
                  <a:pt x="382588" y="255587"/>
                  <a:pt x="382588" y="255587"/>
                  <a:pt x="382588" y="285750"/>
                </a:cubicBezTo>
                <a:cubicBezTo>
                  <a:pt x="382588" y="285750"/>
                  <a:pt x="382588" y="285750"/>
                  <a:pt x="228361" y="285750"/>
                </a:cubicBezTo>
                <a:cubicBezTo>
                  <a:pt x="219832" y="285750"/>
                  <a:pt x="212725" y="279580"/>
                  <a:pt x="212725" y="270669"/>
                </a:cubicBezTo>
                <a:cubicBezTo>
                  <a:pt x="212725" y="262442"/>
                  <a:pt x="219832" y="255587"/>
                  <a:pt x="228361" y="255587"/>
                </a:cubicBezTo>
                <a:close/>
                <a:moveTo>
                  <a:pt x="430087" y="179387"/>
                </a:moveTo>
                <a:cubicBezTo>
                  <a:pt x="430087" y="179387"/>
                  <a:pt x="430087" y="179387"/>
                  <a:pt x="581149" y="179387"/>
                </a:cubicBezTo>
                <a:cubicBezTo>
                  <a:pt x="589740" y="179387"/>
                  <a:pt x="596899" y="186546"/>
                  <a:pt x="596899" y="195138"/>
                </a:cubicBezTo>
                <a:cubicBezTo>
                  <a:pt x="596899" y="195138"/>
                  <a:pt x="596899" y="195138"/>
                  <a:pt x="596899" y="254560"/>
                </a:cubicBezTo>
                <a:cubicBezTo>
                  <a:pt x="596899" y="254560"/>
                  <a:pt x="596899" y="254560"/>
                  <a:pt x="596899" y="286061"/>
                </a:cubicBezTo>
                <a:cubicBezTo>
                  <a:pt x="596899" y="286061"/>
                  <a:pt x="596899" y="286061"/>
                  <a:pt x="596899" y="346200"/>
                </a:cubicBezTo>
                <a:cubicBezTo>
                  <a:pt x="596899" y="354791"/>
                  <a:pt x="589740" y="361950"/>
                  <a:pt x="581149" y="361950"/>
                </a:cubicBezTo>
                <a:cubicBezTo>
                  <a:pt x="581149" y="361950"/>
                  <a:pt x="581149" y="361950"/>
                  <a:pt x="430087" y="361950"/>
                </a:cubicBezTo>
                <a:cubicBezTo>
                  <a:pt x="420780" y="361950"/>
                  <a:pt x="414336" y="354791"/>
                  <a:pt x="414336" y="346200"/>
                </a:cubicBezTo>
                <a:cubicBezTo>
                  <a:pt x="414336" y="346200"/>
                  <a:pt x="414336" y="346200"/>
                  <a:pt x="414336" y="286061"/>
                </a:cubicBezTo>
                <a:cubicBezTo>
                  <a:pt x="414336" y="286061"/>
                  <a:pt x="414336" y="286061"/>
                  <a:pt x="414336" y="254560"/>
                </a:cubicBezTo>
                <a:cubicBezTo>
                  <a:pt x="414336" y="254560"/>
                  <a:pt x="414336" y="254560"/>
                  <a:pt x="414336" y="195138"/>
                </a:cubicBezTo>
                <a:cubicBezTo>
                  <a:pt x="414336" y="186546"/>
                  <a:pt x="420780" y="179387"/>
                  <a:pt x="430087" y="179387"/>
                </a:cubicBezTo>
                <a:close/>
                <a:moveTo>
                  <a:pt x="36512" y="36512"/>
                </a:moveTo>
                <a:lnTo>
                  <a:pt x="36512" y="1058862"/>
                </a:lnTo>
                <a:lnTo>
                  <a:pt x="1066800" y="1058862"/>
                </a:lnTo>
                <a:lnTo>
                  <a:pt x="1066800" y="36512"/>
                </a:lnTo>
                <a:close/>
                <a:moveTo>
                  <a:pt x="34234" y="0"/>
                </a:moveTo>
                <a:cubicBezTo>
                  <a:pt x="34234" y="0"/>
                  <a:pt x="34234" y="0"/>
                  <a:pt x="1069080" y="0"/>
                </a:cubicBezTo>
                <a:cubicBezTo>
                  <a:pt x="1087623" y="0"/>
                  <a:pt x="1103313" y="15702"/>
                  <a:pt x="1103313" y="34258"/>
                </a:cubicBezTo>
                <a:cubicBezTo>
                  <a:pt x="1103313" y="34258"/>
                  <a:pt x="1103313" y="34258"/>
                  <a:pt x="1103313" y="1062705"/>
                </a:cubicBezTo>
                <a:cubicBezTo>
                  <a:pt x="1103313" y="1081975"/>
                  <a:pt x="1087623" y="1096963"/>
                  <a:pt x="1069080" y="1096963"/>
                </a:cubicBezTo>
                <a:cubicBezTo>
                  <a:pt x="1069080" y="1096963"/>
                  <a:pt x="1069080" y="1096963"/>
                  <a:pt x="34234" y="1096963"/>
                </a:cubicBezTo>
                <a:cubicBezTo>
                  <a:pt x="15691" y="1096963"/>
                  <a:pt x="0" y="1081975"/>
                  <a:pt x="0" y="1062705"/>
                </a:cubicBezTo>
                <a:cubicBezTo>
                  <a:pt x="0" y="1062705"/>
                  <a:pt x="0" y="1062705"/>
                  <a:pt x="0" y="34258"/>
                </a:cubicBezTo>
                <a:cubicBezTo>
                  <a:pt x="0" y="15702"/>
                  <a:pt x="15691" y="0"/>
                  <a:pt x="34234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 dirty="0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62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" name="Object 22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86" name="think-cell Slide" r:id="rId10" imgW="536" imgH="535" progId="TCLayout.ActiveDocument.1">
                  <p:embed/>
                </p:oleObj>
              </mc:Choice>
              <mc:Fallback>
                <p:oleObj name="think-cell Slide" r:id="rId10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29941" cy="886397"/>
          </a:xfrm>
        </p:spPr>
        <p:txBody>
          <a:bodyPr/>
          <a:lstStyle/>
          <a:p>
            <a:r>
              <a:rPr lang="en-US" sz="3200" dirty="0"/>
              <a:t>New supplier performance process created to formalize performance evaluations and standardize methodolog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9300" y="2478039"/>
            <a:ext cx="919293" cy="1684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Responsible</a:t>
            </a:r>
          </a:p>
        </p:txBody>
      </p:sp>
      <p:sp>
        <p:nvSpPr>
          <p:cNvPr id="56" name="ee4pFootnotes"/>
          <p:cNvSpPr>
            <a:spLocks noChangeArrowheads="1"/>
          </p:cNvSpPr>
          <p:nvPr/>
        </p:nvSpPr>
        <p:spPr bwMode="auto">
          <a:xfrm>
            <a:off x="629998" y="6518746"/>
            <a:ext cx="8418751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Note: Frequency of process depends on tier of supplier  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  <p:sp>
        <p:nvSpPr>
          <p:cNvPr id="65" name="ee4pHeader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03872" y="2368688"/>
            <a:ext cx="3104245" cy="224570"/>
          </a:xfrm>
          <a:prstGeom prst="homePlate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Prepare performance review</a:t>
            </a:r>
          </a:p>
        </p:txBody>
      </p:sp>
      <p:sp>
        <p:nvSpPr>
          <p:cNvPr id="66" name="ee4pHeader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08118" y="2368688"/>
            <a:ext cx="4395249" cy="224570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erformance review meeting</a:t>
            </a:r>
          </a:p>
        </p:txBody>
      </p:sp>
      <p:sp>
        <p:nvSpPr>
          <p:cNvPr id="67" name="ee4pHeader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903368" y="2368688"/>
            <a:ext cx="3020042" cy="224570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ocument performance review</a:t>
            </a: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89300" y="4198280"/>
            <a:ext cx="1159994" cy="67462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Technical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uthority</a:t>
            </a:r>
          </a:p>
        </p:txBody>
      </p: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4508119" y="4240441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Evaluate contract execution and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KPIs</a:t>
            </a:r>
            <a:endParaRPr lang="en-US" sz="10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1566805" y="3471012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Consolidate evaluation criteria and targets</a:t>
            </a:r>
          </a:p>
        </p:txBody>
      </p:sp>
      <p:sp>
        <p:nvSpPr>
          <p:cNvPr id="15" name="TextColumnContent"/>
          <p:cNvSpPr>
            <a:spLocks noChangeArrowheads="1"/>
          </p:cNvSpPr>
          <p:nvPr/>
        </p:nvSpPr>
        <p:spPr bwMode="gray">
          <a:xfrm>
            <a:off x="8381073" y="5768786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gree on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KPIs</a:t>
            </a: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, improvement actions and </a:t>
            </a:r>
            <a:r>
              <a:rPr lang="en-US" sz="10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workplan</a:t>
            </a:r>
            <a:endParaRPr lang="en-US" sz="10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10390747" y="2701584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Identify lessons learned for future sourcing events</a:t>
            </a:r>
          </a:p>
        </p:txBody>
      </p:sp>
      <p:cxnSp>
        <p:nvCxnSpPr>
          <p:cNvPr id="18" name="Elbow Connector 17"/>
          <p:cNvCxnSpPr>
            <a:stCxn id="11" idx="3"/>
            <a:endCxn id="26" idx="1"/>
          </p:cNvCxnSpPr>
          <p:nvPr/>
        </p:nvCxnSpPr>
        <p:spPr>
          <a:xfrm flipV="1">
            <a:off x="5614543" y="3766163"/>
            <a:ext cx="364233" cy="769429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431337" y="3409031"/>
            <a:ext cx="0" cy="714266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431337" y="4178459"/>
            <a:ext cx="0" cy="714266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Elbow Connector 58"/>
          <p:cNvCxnSpPr>
            <a:stCxn id="12" idx="3"/>
            <a:endCxn id="57" idx="1"/>
          </p:cNvCxnSpPr>
          <p:nvPr/>
        </p:nvCxnSpPr>
        <p:spPr>
          <a:xfrm>
            <a:off x="2673229" y="3766163"/>
            <a:ext cx="364233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ColumnContent"/>
          <p:cNvSpPr>
            <a:spLocks noChangeArrowheads="1"/>
          </p:cNvSpPr>
          <p:nvPr/>
        </p:nvSpPr>
        <p:spPr bwMode="gray">
          <a:xfrm>
            <a:off x="5978776" y="3471012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Propose improvement actions for next period</a:t>
            </a:r>
          </a:p>
        </p:txBody>
      </p:sp>
      <p:sp>
        <p:nvSpPr>
          <p:cNvPr id="30" name="TextColumnContent"/>
          <p:cNvSpPr>
            <a:spLocks noChangeArrowheads="1"/>
          </p:cNvSpPr>
          <p:nvPr/>
        </p:nvSpPr>
        <p:spPr bwMode="gray">
          <a:xfrm>
            <a:off x="389300" y="2659423"/>
            <a:ext cx="1159994" cy="67462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ategory leader/</a:t>
            </a:r>
            <a:b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pecialist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1431337" y="2639602"/>
            <a:ext cx="0" cy="714266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389300" y="3428851"/>
            <a:ext cx="1159994" cy="67462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Project service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officer</a:t>
            </a:r>
          </a:p>
        </p:txBody>
      </p:sp>
      <p:cxnSp>
        <p:nvCxnSpPr>
          <p:cNvPr id="38" name="Elbow Connector 58"/>
          <p:cNvCxnSpPr>
            <a:stCxn id="58" idx="3"/>
            <a:endCxn id="15" idx="0"/>
          </p:cNvCxnSpPr>
          <p:nvPr/>
        </p:nvCxnSpPr>
        <p:spPr>
          <a:xfrm>
            <a:off x="8555857" y="3766163"/>
            <a:ext cx="378428" cy="2002623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ColumnContent"/>
          <p:cNvSpPr>
            <a:spLocks noChangeArrowheads="1"/>
          </p:cNvSpPr>
          <p:nvPr/>
        </p:nvSpPr>
        <p:spPr bwMode="gray">
          <a:xfrm>
            <a:off x="389300" y="5726625"/>
            <a:ext cx="1159994" cy="67462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38468F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upplier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1431337" y="5706804"/>
            <a:ext cx="0" cy="714266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9" name="Elbow Connector 58"/>
          <p:cNvCxnSpPr>
            <a:stCxn id="58" idx="3"/>
            <a:endCxn id="68" idx="2"/>
          </p:cNvCxnSpPr>
          <p:nvPr/>
        </p:nvCxnSpPr>
        <p:spPr>
          <a:xfrm flipV="1">
            <a:off x="8555857" y="3291886"/>
            <a:ext cx="917445" cy="474277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ColumnContent"/>
          <p:cNvSpPr>
            <a:spLocks noChangeArrowheads="1"/>
          </p:cNvSpPr>
          <p:nvPr/>
        </p:nvSpPr>
        <p:spPr bwMode="gray">
          <a:xfrm>
            <a:off x="4508119" y="4999358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Evaluate performance of the supplier in their areas</a:t>
            </a:r>
          </a:p>
        </p:txBody>
      </p:sp>
      <p:sp>
        <p:nvSpPr>
          <p:cNvPr id="58" name="TextColumnContent"/>
          <p:cNvSpPr>
            <a:spLocks noChangeArrowheads="1"/>
          </p:cNvSpPr>
          <p:nvPr/>
        </p:nvSpPr>
        <p:spPr bwMode="gray">
          <a:xfrm>
            <a:off x="7449433" y="3471012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Provide feedback of the evaluation to the supplier</a:t>
            </a:r>
          </a:p>
        </p:txBody>
      </p:sp>
      <p:sp>
        <p:nvSpPr>
          <p:cNvPr id="61" name="TextColumnContent"/>
          <p:cNvSpPr>
            <a:spLocks noChangeArrowheads="1"/>
          </p:cNvSpPr>
          <p:nvPr/>
        </p:nvSpPr>
        <p:spPr bwMode="gray">
          <a:xfrm>
            <a:off x="389300" y="4957196"/>
            <a:ext cx="1159994" cy="674624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 err="1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HSEQ</a:t>
            </a: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/CSR/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Labor/HR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1431337" y="4937376"/>
            <a:ext cx="0" cy="714266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stCxn id="55" idx="3"/>
            <a:endCxn id="26" idx="1"/>
          </p:cNvCxnSpPr>
          <p:nvPr/>
        </p:nvCxnSpPr>
        <p:spPr>
          <a:xfrm flipV="1">
            <a:off x="5614543" y="3766163"/>
            <a:ext cx="364233" cy="1528346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35"/>
          <p:cNvCxnSpPr>
            <a:stCxn id="26" idx="3"/>
            <a:endCxn id="58" idx="1"/>
          </p:cNvCxnSpPr>
          <p:nvPr/>
        </p:nvCxnSpPr>
        <p:spPr>
          <a:xfrm>
            <a:off x="7085200" y="3766163"/>
            <a:ext cx="364233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ColumnContent"/>
          <p:cNvSpPr>
            <a:spLocks noChangeArrowheads="1"/>
          </p:cNvSpPr>
          <p:nvPr/>
        </p:nvSpPr>
        <p:spPr bwMode="gray">
          <a:xfrm>
            <a:off x="3037462" y="3471012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equest evaluation</a:t>
            </a:r>
            <a:b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to areas</a:t>
            </a:r>
          </a:p>
        </p:txBody>
      </p:sp>
      <p:cxnSp>
        <p:nvCxnSpPr>
          <p:cNvPr id="59" name="Elbow Connector 58"/>
          <p:cNvCxnSpPr>
            <a:stCxn id="57" idx="3"/>
            <a:endCxn id="11" idx="1"/>
          </p:cNvCxnSpPr>
          <p:nvPr/>
        </p:nvCxnSpPr>
        <p:spPr>
          <a:xfrm>
            <a:off x="4143886" y="3766163"/>
            <a:ext cx="364233" cy="769429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Elbow Connector 62"/>
          <p:cNvCxnSpPr>
            <a:stCxn id="57" idx="3"/>
            <a:endCxn id="55" idx="1"/>
          </p:cNvCxnSpPr>
          <p:nvPr/>
        </p:nvCxnSpPr>
        <p:spPr>
          <a:xfrm>
            <a:off x="4143886" y="3766163"/>
            <a:ext cx="364233" cy="1528346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ColumnContent"/>
          <p:cNvSpPr>
            <a:spLocks noChangeArrowheads="1"/>
          </p:cNvSpPr>
          <p:nvPr/>
        </p:nvSpPr>
        <p:spPr bwMode="gray">
          <a:xfrm>
            <a:off x="8920090" y="2701584"/>
            <a:ext cx="1106424" cy="590302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0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Centralize evaluation from different areas in graded evaluation</a:t>
            </a:r>
          </a:p>
        </p:txBody>
      </p:sp>
      <p:cxnSp>
        <p:nvCxnSpPr>
          <p:cNvPr id="85" name="Elbow Connector 58"/>
          <p:cNvCxnSpPr>
            <a:stCxn id="68" idx="3"/>
            <a:endCxn id="16" idx="1"/>
          </p:cNvCxnSpPr>
          <p:nvPr/>
        </p:nvCxnSpPr>
        <p:spPr>
          <a:xfrm>
            <a:off x="10026514" y="2996735"/>
            <a:ext cx="364233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3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upplier Performance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44" name="NavigationIcon"/>
          <p:cNvSpPr>
            <a:spLocks noChangeAspect="1"/>
          </p:cNvSpPr>
          <p:nvPr/>
        </p:nvSpPr>
        <p:spPr bwMode="auto">
          <a:xfrm>
            <a:off x="11689486" y="132877"/>
            <a:ext cx="367877" cy="365760"/>
          </a:xfrm>
          <a:custGeom>
            <a:avLst/>
            <a:gdLst>
              <a:gd name="connsiteX0" fmla="*/ 627062 w 1103313"/>
              <a:gd name="connsiteY0" fmla="*/ 808037 h 1096963"/>
              <a:gd name="connsiteX1" fmla="*/ 876412 w 1103313"/>
              <a:gd name="connsiteY1" fmla="*/ 808037 h 1096963"/>
              <a:gd name="connsiteX2" fmla="*/ 892175 w 1103313"/>
              <a:gd name="connsiteY2" fmla="*/ 823119 h 1096963"/>
              <a:gd name="connsiteX3" fmla="*/ 876412 w 1103313"/>
              <a:gd name="connsiteY3" fmla="*/ 838200 h 1096963"/>
              <a:gd name="connsiteX4" fmla="*/ 627062 w 1103313"/>
              <a:gd name="connsiteY4" fmla="*/ 838200 h 1096963"/>
              <a:gd name="connsiteX5" fmla="*/ 627062 w 1103313"/>
              <a:gd name="connsiteY5" fmla="*/ 808037 h 1096963"/>
              <a:gd name="connsiteX6" fmla="*/ 228361 w 1103313"/>
              <a:gd name="connsiteY6" fmla="*/ 808037 h 1096963"/>
              <a:gd name="connsiteX7" fmla="*/ 382588 w 1103313"/>
              <a:gd name="connsiteY7" fmla="*/ 808037 h 1096963"/>
              <a:gd name="connsiteX8" fmla="*/ 382588 w 1103313"/>
              <a:gd name="connsiteY8" fmla="*/ 838200 h 1096963"/>
              <a:gd name="connsiteX9" fmla="*/ 228361 w 1103313"/>
              <a:gd name="connsiteY9" fmla="*/ 838200 h 1096963"/>
              <a:gd name="connsiteX10" fmla="*/ 212725 w 1103313"/>
              <a:gd name="connsiteY10" fmla="*/ 823119 h 1096963"/>
              <a:gd name="connsiteX11" fmla="*/ 228361 w 1103313"/>
              <a:gd name="connsiteY11" fmla="*/ 808037 h 1096963"/>
              <a:gd name="connsiteX12" fmla="*/ 430087 w 1103313"/>
              <a:gd name="connsiteY12" fmla="*/ 731837 h 1096963"/>
              <a:gd name="connsiteX13" fmla="*/ 581149 w 1103313"/>
              <a:gd name="connsiteY13" fmla="*/ 731837 h 1096963"/>
              <a:gd name="connsiteX14" fmla="*/ 596899 w 1103313"/>
              <a:gd name="connsiteY14" fmla="*/ 747588 h 1096963"/>
              <a:gd name="connsiteX15" fmla="*/ 596899 w 1103313"/>
              <a:gd name="connsiteY15" fmla="*/ 807010 h 1096963"/>
              <a:gd name="connsiteX16" fmla="*/ 596899 w 1103313"/>
              <a:gd name="connsiteY16" fmla="*/ 838511 h 1096963"/>
              <a:gd name="connsiteX17" fmla="*/ 596899 w 1103313"/>
              <a:gd name="connsiteY17" fmla="*/ 898650 h 1096963"/>
              <a:gd name="connsiteX18" fmla="*/ 581149 w 1103313"/>
              <a:gd name="connsiteY18" fmla="*/ 914400 h 1096963"/>
              <a:gd name="connsiteX19" fmla="*/ 430087 w 1103313"/>
              <a:gd name="connsiteY19" fmla="*/ 914400 h 1096963"/>
              <a:gd name="connsiteX20" fmla="*/ 414336 w 1103313"/>
              <a:gd name="connsiteY20" fmla="*/ 898650 h 1096963"/>
              <a:gd name="connsiteX21" fmla="*/ 414336 w 1103313"/>
              <a:gd name="connsiteY21" fmla="*/ 838511 h 1096963"/>
              <a:gd name="connsiteX22" fmla="*/ 414336 w 1103313"/>
              <a:gd name="connsiteY22" fmla="*/ 807010 h 1096963"/>
              <a:gd name="connsiteX23" fmla="*/ 414336 w 1103313"/>
              <a:gd name="connsiteY23" fmla="*/ 747588 h 1096963"/>
              <a:gd name="connsiteX24" fmla="*/ 430087 w 1103313"/>
              <a:gd name="connsiteY24" fmla="*/ 731837 h 1096963"/>
              <a:gd name="connsiteX25" fmla="*/ 722312 w 1103313"/>
              <a:gd name="connsiteY25" fmla="*/ 531812 h 1096963"/>
              <a:gd name="connsiteX26" fmla="*/ 876474 w 1103313"/>
              <a:gd name="connsiteY26" fmla="*/ 531812 h 1096963"/>
              <a:gd name="connsiteX27" fmla="*/ 892175 w 1103313"/>
              <a:gd name="connsiteY27" fmla="*/ 546894 h 1096963"/>
              <a:gd name="connsiteX28" fmla="*/ 876474 w 1103313"/>
              <a:gd name="connsiteY28" fmla="*/ 561975 h 1096963"/>
              <a:gd name="connsiteX29" fmla="*/ 722312 w 1103313"/>
              <a:gd name="connsiteY29" fmla="*/ 561975 h 1096963"/>
              <a:gd name="connsiteX30" fmla="*/ 722312 w 1103313"/>
              <a:gd name="connsiteY30" fmla="*/ 531812 h 1096963"/>
              <a:gd name="connsiteX31" fmla="*/ 228352 w 1103313"/>
              <a:gd name="connsiteY31" fmla="*/ 531812 h 1096963"/>
              <a:gd name="connsiteX32" fmla="*/ 476250 w 1103313"/>
              <a:gd name="connsiteY32" fmla="*/ 531812 h 1096963"/>
              <a:gd name="connsiteX33" fmla="*/ 476250 w 1103313"/>
              <a:gd name="connsiteY33" fmla="*/ 561975 h 1096963"/>
              <a:gd name="connsiteX34" fmla="*/ 228352 w 1103313"/>
              <a:gd name="connsiteY34" fmla="*/ 561975 h 1096963"/>
              <a:gd name="connsiteX35" fmla="*/ 212725 w 1103313"/>
              <a:gd name="connsiteY35" fmla="*/ 546894 h 1096963"/>
              <a:gd name="connsiteX36" fmla="*/ 228352 w 1103313"/>
              <a:gd name="connsiteY36" fmla="*/ 531812 h 1096963"/>
              <a:gd name="connsiteX37" fmla="*/ 523750 w 1103313"/>
              <a:gd name="connsiteY37" fmla="*/ 455612 h 1096963"/>
              <a:gd name="connsiteX38" fmla="*/ 674812 w 1103313"/>
              <a:gd name="connsiteY38" fmla="*/ 455612 h 1096963"/>
              <a:gd name="connsiteX39" fmla="*/ 690562 w 1103313"/>
              <a:gd name="connsiteY39" fmla="*/ 471363 h 1096963"/>
              <a:gd name="connsiteX40" fmla="*/ 690562 w 1103313"/>
              <a:gd name="connsiteY40" fmla="*/ 530785 h 1096963"/>
              <a:gd name="connsiteX41" fmla="*/ 690562 w 1103313"/>
              <a:gd name="connsiteY41" fmla="*/ 562286 h 1096963"/>
              <a:gd name="connsiteX42" fmla="*/ 690562 w 1103313"/>
              <a:gd name="connsiteY42" fmla="*/ 622425 h 1096963"/>
              <a:gd name="connsiteX43" fmla="*/ 674812 w 1103313"/>
              <a:gd name="connsiteY43" fmla="*/ 638175 h 1096963"/>
              <a:gd name="connsiteX44" fmla="*/ 523750 w 1103313"/>
              <a:gd name="connsiteY44" fmla="*/ 638175 h 1096963"/>
              <a:gd name="connsiteX45" fmla="*/ 507999 w 1103313"/>
              <a:gd name="connsiteY45" fmla="*/ 622425 h 1096963"/>
              <a:gd name="connsiteX46" fmla="*/ 507999 w 1103313"/>
              <a:gd name="connsiteY46" fmla="*/ 562286 h 1096963"/>
              <a:gd name="connsiteX47" fmla="*/ 507999 w 1103313"/>
              <a:gd name="connsiteY47" fmla="*/ 530785 h 1096963"/>
              <a:gd name="connsiteX48" fmla="*/ 507999 w 1103313"/>
              <a:gd name="connsiteY48" fmla="*/ 471363 h 1096963"/>
              <a:gd name="connsiteX49" fmla="*/ 523750 w 1103313"/>
              <a:gd name="connsiteY49" fmla="*/ 455612 h 1096963"/>
              <a:gd name="connsiteX50" fmla="*/ 627062 w 1103313"/>
              <a:gd name="connsiteY50" fmla="*/ 255587 h 1096963"/>
              <a:gd name="connsiteX51" fmla="*/ 876412 w 1103313"/>
              <a:gd name="connsiteY51" fmla="*/ 255587 h 1096963"/>
              <a:gd name="connsiteX52" fmla="*/ 892175 w 1103313"/>
              <a:gd name="connsiteY52" fmla="*/ 270669 h 1096963"/>
              <a:gd name="connsiteX53" fmla="*/ 876412 w 1103313"/>
              <a:gd name="connsiteY53" fmla="*/ 285750 h 1096963"/>
              <a:gd name="connsiteX54" fmla="*/ 627062 w 1103313"/>
              <a:gd name="connsiteY54" fmla="*/ 285750 h 1096963"/>
              <a:gd name="connsiteX55" fmla="*/ 627062 w 1103313"/>
              <a:gd name="connsiteY55" fmla="*/ 255587 h 1096963"/>
              <a:gd name="connsiteX56" fmla="*/ 228361 w 1103313"/>
              <a:gd name="connsiteY56" fmla="*/ 255587 h 1096963"/>
              <a:gd name="connsiteX57" fmla="*/ 382588 w 1103313"/>
              <a:gd name="connsiteY57" fmla="*/ 255587 h 1096963"/>
              <a:gd name="connsiteX58" fmla="*/ 382588 w 1103313"/>
              <a:gd name="connsiteY58" fmla="*/ 285750 h 1096963"/>
              <a:gd name="connsiteX59" fmla="*/ 228361 w 1103313"/>
              <a:gd name="connsiteY59" fmla="*/ 285750 h 1096963"/>
              <a:gd name="connsiteX60" fmla="*/ 212725 w 1103313"/>
              <a:gd name="connsiteY60" fmla="*/ 270669 h 1096963"/>
              <a:gd name="connsiteX61" fmla="*/ 228361 w 1103313"/>
              <a:gd name="connsiteY61" fmla="*/ 255587 h 1096963"/>
              <a:gd name="connsiteX62" fmla="*/ 430087 w 1103313"/>
              <a:gd name="connsiteY62" fmla="*/ 179387 h 1096963"/>
              <a:gd name="connsiteX63" fmla="*/ 581149 w 1103313"/>
              <a:gd name="connsiteY63" fmla="*/ 179387 h 1096963"/>
              <a:gd name="connsiteX64" fmla="*/ 596899 w 1103313"/>
              <a:gd name="connsiteY64" fmla="*/ 195138 h 1096963"/>
              <a:gd name="connsiteX65" fmla="*/ 596899 w 1103313"/>
              <a:gd name="connsiteY65" fmla="*/ 254560 h 1096963"/>
              <a:gd name="connsiteX66" fmla="*/ 596899 w 1103313"/>
              <a:gd name="connsiteY66" fmla="*/ 286061 h 1096963"/>
              <a:gd name="connsiteX67" fmla="*/ 596899 w 1103313"/>
              <a:gd name="connsiteY67" fmla="*/ 346200 h 1096963"/>
              <a:gd name="connsiteX68" fmla="*/ 581149 w 1103313"/>
              <a:gd name="connsiteY68" fmla="*/ 361950 h 1096963"/>
              <a:gd name="connsiteX69" fmla="*/ 430087 w 1103313"/>
              <a:gd name="connsiteY69" fmla="*/ 361950 h 1096963"/>
              <a:gd name="connsiteX70" fmla="*/ 414336 w 1103313"/>
              <a:gd name="connsiteY70" fmla="*/ 346200 h 1096963"/>
              <a:gd name="connsiteX71" fmla="*/ 414336 w 1103313"/>
              <a:gd name="connsiteY71" fmla="*/ 286061 h 1096963"/>
              <a:gd name="connsiteX72" fmla="*/ 414336 w 1103313"/>
              <a:gd name="connsiteY72" fmla="*/ 254560 h 1096963"/>
              <a:gd name="connsiteX73" fmla="*/ 414336 w 1103313"/>
              <a:gd name="connsiteY73" fmla="*/ 195138 h 1096963"/>
              <a:gd name="connsiteX74" fmla="*/ 430087 w 1103313"/>
              <a:gd name="connsiteY74" fmla="*/ 179387 h 1096963"/>
              <a:gd name="connsiteX75" fmla="*/ 36512 w 1103313"/>
              <a:gd name="connsiteY75" fmla="*/ 36512 h 1096963"/>
              <a:gd name="connsiteX76" fmla="*/ 36512 w 1103313"/>
              <a:gd name="connsiteY76" fmla="*/ 1058862 h 1096963"/>
              <a:gd name="connsiteX77" fmla="*/ 1066800 w 1103313"/>
              <a:gd name="connsiteY77" fmla="*/ 1058862 h 1096963"/>
              <a:gd name="connsiteX78" fmla="*/ 1066800 w 1103313"/>
              <a:gd name="connsiteY78" fmla="*/ 36512 h 1096963"/>
              <a:gd name="connsiteX79" fmla="*/ 34234 w 1103313"/>
              <a:gd name="connsiteY79" fmla="*/ 0 h 1096963"/>
              <a:gd name="connsiteX80" fmla="*/ 1069080 w 1103313"/>
              <a:gd name="connsiteY80" fmla="*/ 0 h 1096963"/>
              <a:gd name="connsiteX81" fmla="*/ 1103313 w 1103313"/>
              <a:gd name="connsiteY81" fmla="*/ 34258 h 1096963"/>
              <a:gd name="connsiteX82" fmla="*/ 1103313 w 1103313"/>
              <a:gd name="connsiteY82" fmla="*/ 1062705 h 1096963"/>
              <a:gd name="connsiteX83" fmla="*/ 1069080 w 1103313"/>
              <a:gd name="connsiteY83" fmla="*/ 1096963 h 1096963"/>
              <a:gd name="connsiteX84" fmla="*/ 34234 w 1103313"/>
              <a:gd name="connsiteY84" fmla="*/ 1096963 h 1096963"/>
              <a:gd name="connsiteX85" fmla="*/ 0 w 1103313"/>
              <a:gd name="connsiteY85" fmla="*/ 1062705 h 1096963"/>
              <a:gd name="connsiteX86" fmla="*/ 0 w 1103313"/>
              <a:gd name="connsiteY86" fmla="*/ 34258 h 1096963"/>
              <a:gd name="connsiteX87" fmla="*/ 34234 w 1103313"/>
              <a:gd name="connsiteY87" fmla="*/ 0 h 109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103313" h="1096963">
                <a:moveTo>
                  <a:pt x="627062" y="808037"/>
                </a:moveTo>
                <a:cubicBezTo>
                  <a:pt x="627062" y="808037"/>
                  <a:pt x="627062" y="808037"/>
                  <a:pt x="876412" y="808037"/>
                </a:cubicBezTo>
                <a:cubicBezTo>
                  <a:pt x="885010" y="808037"/>
                  <a:pt x="892175" y="814892"/>
                  <a:pt x="892175" y="823119"/>
                </a:cubicBezTo>
                <a:cubicBezTo>
                  <a:pt x="892175" y="832030"/>
                  <a:pt x="885010" y="838200"/>
                  <a:pt x="876412" y="838200"/>
                </a:cubicBezTo>
                <a:cubicBezTo>
                  <a:pt x="876412" y="838200"/>
                  <a:pt x="876412" y="838200"/>
                  <a:pt x="627062" y="838200"/>
                </a:cubicBezTo>
                <a:cubicBezTo>
                  <a:pt x="627062" y="838200"/>
                  <a:pt x="627062" y="838200"/>
                  <a:pt x="627062" y="808037"/>
                </a:cubicBezTo>
                <a:close/>
                <a:moveTo>
                  <a:pt x="228361" y="808037"/>
                </a:moveTo>
                <a:cubicBezTo>
                  <a:pt x="228361" y="808037"/>
                  <a:pt x="228361" y="808037"/>
                  <a:pt x="382588" y="808037"/>
                </a:cubicBezTo>
                <a:cubicBezTo>
                  <a:pt x="382588" y="808037"/>
                  <a:pt x="382588" y="808037"/>
                  <a:pt x="382588" y="838200"/>
                </a:cubicBezTo>
                <a:cubicBezTo>
                  <a:pt x="382588" y="838200"/>
                  <a:pt x="382588" y="838200"/>
                  <a:pt x="228361" y="838200"/>
                </a:cubicBezTo>
                <a:cubicBezTo>
                  <a:pt x="219832" y="838200"/>
                  <a:pt x="212725" y="832030"/>
                  <a:pt x="212725" y="823119"/>
                </a:cubicBezTo>
                <a:cubicBezTo>
                  <a:pt x="212725" y="814892"/>
                  <a:pt x="219832" y="808037"/>
                  <a:pt x="228361" y="808037"/>
                </a:cubicBezTo>
                <a:close/>
                <a:moveTo>
                  <a:pt x="430087" y="731837"/>
                </a:moveTo>
                <a:cubicBezTo>
                  <a:pt x="430087" y="731837"/>
                  <a:pt x="430087" y="731837"/>
                  <a:pt x="581149" y="731837"/>
                </a:cubicBezTo>
                <a:cubicBezTo>
                  <a:pt x="589740" y="731837"/>
                  <a:pt x="596899" y="738996"/>
                  <a:pt x="596899" y="747588"/>
                </a:cubicBezTo>
                <a:cubicBezTo>
                  <a:pt x="596899" y="747588"/>
                  <a:pt x="596899" y="747588"/>
                  <a:pt x="596899" y="807010"/>
                </a:cubicBezTo>
                <a:cubicBezTo>
                  <a:pt x="596899" y="807010"/>
                  <a:pt x="596899" y="807010"/>
                  <a:pt x="596899" y="838511"/>
                </a:cubicBezTo>
                <a:cubicBezTo>
                  <a:pt x="596899" y="838511"/>
                  <a:pt x="596899" y="838511"/>
                  <a:pt x="596899" y="898650"/>
                </a:cubicBezTo>
                <a:cubicBezTo>
                  <a:pt x="596899" y="907241"/>
                  <a:pt x="589740" y="914400"/>
                  <a:pt x="581149" y="914400"/>
                </a:cubicBezTo>
                <a:cubicBezTo>
                  <a:pt x="581149" y="914400"/>
                  <a:pt x="581149" y="914400"/>
                  <a:pt x="430087" y="914400"/>
                </a:cubicBezTo>
                <a:cubicBezTo>
                  <a:pt x="420780" y="914400"/>
                  <a:pt x="414336" y="907241"/>
                  <a:pt x="414336" y="898650"/>
                </a:cubicBezTo>
                <a:cubicBezTo>
                  <a:pt x="414336" y="898650"/>
                  <a:pt x="414336" y="898650"/>
                  <a:pt x="414336" y="838511"/>
                </a:cubicBezTo>
                <a:cubicBezTo>
                  <a:pt x="414336" y="838511"/>
                  <a:pt x="414336" y="838511"/>
                  <a:pt x="414336" y="807010"/>
                </a:cubicBezTo>
                <a:cubicBezTo>
                  <a:pt x="414336" y="807010"/>
                  <a:pt x="414336" y="807010"/>
                  <a:pt x="414336" y="747588"/>
                </a:cubicBezTo>
                <a:cubicBezTo>
                  <a:pt x="414336" y="738996"/>
                  <a:pt x="420780" y="731837"/>
                  <a:pt x="430087" y="731837"/>
                </a:cubicBezTo>
                <a:close/>
                <a:moveTo>
                  <a:pt x="722312" y="531812"/>
                </a:moveTo>
                <a:cubicBezTo>
                  <a:pt x="722312" y="531812"/>
                  <a:pt x="722312" y="531812"/>
                  <a:pt x="876474" y="531812"/>
                </a:cubicBezTo>
                <a:cubicBezTo>
                  <a:pt x="885038" y="531812"/>
                  <a:pt x="892175" y="538667"/>
                  <a:pt x="892175" y="546894"/>
                </a:cubicBezTo>
                <a:cubicBezTo>
                  <a:pt x="892175" y="555805"/>
                  <a:pt x="885038" y="561975"/>
                  <a:pt x="876474" y="561975"/>
                </a:cubicBezTo>
                <a:cubicBezTo>
                  <a:pt x="876474" y="561975"/>
                  <a:pt x="876474" y="561975"/>
                  <a:pt x="722312" y="561975"/>
                </a:cubicBezTo>
                <a:cubicBezTo>
                  <a:pt x="722312" y="561975"/>
                  <a:pt x="722312" y="561975"/>
                  <a:pt x="722312" y="531812"/>
                </a:cubicBezTo>
                <a:close/>
                <a:moveTo>
                  <a:pt x="228352" y="531812"/>
                </a:moveTo>
                <a:cubicBezTo>
                  <a:pt x="228352" y="531812"/>
                  <a:pt x="228352" y="531812"/>
                  <a:pt x="476250" y="531812"/>
                </a:cubicBezTo>
                <a:cubicBezTo>
                  <a:pt x="476250" y="531812"/>
                  <a:pt x="476250" y="531812"/>
                  <a:pt x="476250" y="561975"/>
                </a:cubicBezTo>
                <a:cubicBezTo>
                  <a:pt x="476250" y="561975"/>
                  <a:pt x="476250" y="561975"/>
                  <a:pt x="228352" y="561975"/>
                </a:cubicBezTo>
                <a:cubicBezTo>
                  <a:pt x="219828" y="561975"/>
                  <a:pt x="212725" y="555805"/>
                  <a:pt x="212725" y="546894"/>
                </a:cubicBezTo>
                <a:cubicBezTo>
                  <a:pt x="212725" y="538667"/>
                  <a:pt x="219828" y="531812"/>
                  <a:pt x="228352" y="531812"/>
                </a:cubicBezTo>
                <a:close/>
                <a:moveTo>
                  <a:pt x="523750" y="455612"/>
                </a:moveTo>
                <a:cubicBezTo>
                  <a:pt x="523750" y="455612"/>
                  <a:pt x="523750" y="455612"/>
                  <a:pt x="674812" y="455612"/>
                </a:cubicBezTo>
                <a:cubicBezTo>
                  <a:pt x="683403" y="455612"/>
                  <a:pt x="690562" y="462771"/>
                  <a:pt x="690562" y="471363"/>
                </a:cubicBezTo>
                <a:cubicBezTo>
                  <a:pt x="690562" y="471363"/>
                  <a:pt x="690562" y="471363"/>
                  <a:pt x="690562" y="530785"/>
                </a:cubicBezTo>
                <a:cubicBezTo>
                  <a:pt x="690562" y="530785"/>
                  <a:pt x="690562" y="530785"/>
                  <a:pt x="690562" y="562286"/>
                </a:cubicBezTo>
                <a:cubicBezTo>
                  <a:pt x="690562" y="562286"/>
                  <a:pt x="690562" y="562286"/>
                  <a:pt x="690562" y="622425"/>
                </a:cubicBezTo>
                <a:cubicBezTo>
                  <a:pt x="690562" y="631016"/>
                  <a:pt x="683403" y="638175"/>
                  <a:pt x="674812" y="638175"/>
                </a:cubicBezTo>
                <a:cubicBezTo>
                  <a:pt x="674812" y="638175"/>
                  <a:pt x="674812" y="638175"/>
                  <a:pt x="523750" y="638175"/>
                </a:cubicBezTo>
                <a:cubicBezTo>
                  <a:pt x="514443" y="638175"/>
                  <a:pt x="507999" y="631016"/>
                  <a:pt x="507999" y="622425"/>
                </a:cubicBezTo>
                <a:cubicBezTo>
                  <a:pt x="507999" y="622425"/>
                  <a:pt x="507999" y="622425"/>
                  <a:pt x="507999" y="562286"/>
                </a:cubicBezTo>
                <a:cubicBezTo>
                  <a:pt x="507999" y="562286"/>
                  <a:pt x="507999" y="562286"/>
                  <a:pt x="507999" y="530785"/>
                </a:cubicBezTo>
                <a:cubicBezTo>
                  <a:pt x="507999" y="530785"/>
                  <a:pt x="507999" y="530785"/>
                  <a:pt x="507999" y="471363"/>
                </a:cubicBezTo>
                <a:cubicBezTo>
                  <a:pt x="507999" y="462771"/>
                  <a:pt x="514443" y="455612"/>
                  <a:pt x="523750" y="455612"/>
                </a:cubicBezTo>
                <a:close/>
                <a:moveTo>
                  <a:pt x="627062" y="255587"/>
                </a:moveTo>
                <a:cubicBezTo>
                  <a:pt x="627062" y="255587"/>
                  <a:pt x="627062" y="255587"/>
                  <a:pt x="876412" y="255587"/>
                </a:cubicBezTo>
                <a:cubicBezTo>
                  <a:pt x="885010" y="255587"/>
                  <a:pt x="892175" y="262442"/>
                  <a:pt x="892175" y="270669"/>
                </a:cubicBezTo>
                <a:cubicBezTo>
                  <a:pt x="892175" y="279580"/>
                  <a:pt x="885010" y="285750"/>
                  <a:pt x="876412" y="285750"/>
                </a:cubicBezTo>
                <a:cubicBezTo>
                  <a:pt x="876412" y="285750"/>
                  <a:pt x="876412" y="285750"/>
                  <a:pt x="627062" y="285750"/>
                </a:cubicBezTo>
                <a:cubicBezTo>
                  <a:pt x="627062" y="285750"/>
                  <a:pt x="627062" y="285750"/>
                  <a:pt x="627062" y="255587"/>
                </a:cubicBezTo>
                <a:close/>
                <a:moveTo>
                  <a:pt x="228361" y="255587"/>
                </a:moveTo>
                <a:cubicBezTo>
                  <a:pt x="228361" y="255587"/>
                  <a:pt x="228361" y="255587"/>
                  <a:pt x="382588" y="255587"/>
                </a:cubicBezTo>
                <a:cubicBezTo>
                  <a:pt x="382588" y="255587"/>
                  <a:pt x="382588" y="255587"/>
                  <a:pt x="382588" y="285750"/>
                </a:cubicBezTo>
                <a:cubicBezTo>
                  <a:pt x="382588" y="285750"/>
                  <a:pt x="382588" y="285750"/>
                  <a:pt x="228361" y="285750"/>
                </a:cubicBezTo>
                <a:cubicBezTo>
                  <a:pt x="219832" y="285750"/>
                  <a:pt x="212725" y="279580"/>
                  <a:pt x="212725" y="270669"/>
                </a:cubicBezTo>
                <a:cubicBezTo>
                  <a:pt x="212725" y="262442"/>
                  <a:pt x="219832" y="255587"/>
                  <a:pt x="228361" y="255587"/>
                </a:cubicBezTo>
                <a:close/>
                <a:moveTo>
                  <a:pt x="430087" y="179387"/>
                </a:moveTo>
                <a:cubicBezTo>
                  <a:pt x="430087" y="179387"/>
                  <a:pt x="430087" y="179387"/>
                  <a:pt x="581149" y="179387"/>
                </a:cubicBezTo>
                <a:cubicBezTo>
                  <a:pt x="589740" y="179387"/>
                  <a:pt x="596899" y="186546"/>
                  <a:pt x="596899" y="195138"/>
                </a:cubicBezTo>
                <a:cubicBezTo>
                  <a:pt x="596899" y="195138"/>
                  <a:pt x="596899" y="195138"/>
                  <a:pt x="596899" y="254560"/>
                </a:cubicBezTo>
                <a:cubicBezTo>
                  <a:pt x="596899" y="254560"/>
                  <a:pt x="596899" y="254560"/>
                  <a:pt x="596899" y="286061"/>
                </a:cubicBezTo>
                <a:cubicBezTo>
                  <a:pt x="596899" y="286061"/>
                  <a:pt x="596899" y="286061"/>
                  <a:pt x="596899" y="346200"/>
                </a:cubicBezTo>
                <a:cubicBezTo>
                  <a:pt x="596899" y="354791"/>
                  <a:pt x="589740" y="361950"/>
                  <a:pt x="581149" y="361950"/>
                </a:cubicBezTo>
                <a:cubicBezTo>
                  <a:pt x="581149" y="361950"/>
                  <a:pt x="581149" y="361950"/>
                  <a:pt x="430087" y="361950"/>
                </a:cubicBezTo>
                <a:cubicBezTo>
                  <a:pt x="420780" y="361950"/>
                  <a:pt x="414336" y="354791"/>
                  <a:pt x="414336" y="346200"/>
                </a:cubicBezTo>
                <a:cubicBezTo>
                  <a:pt x="414336" y="346200"/>
                  <a:pt x="414336" y="346200"/>
                  <a:pt x="414336" y="286061"/>
                </a:cubicBezTo>
                <a:cubicBezTo>
                  <a:pt x="414336" y="286061"/>
                  <a:pt x="414336" y="286061"/>
                  <a:pt x="414336" y="254560"/>
                </a:cubicBezTo>
                <a:cubicBezTo>
                  <a:pt x="414336" y="254560"/>
                  <a:pt x="414336" y="254560"/>
                  <a:pt x="414336" y="195138"/>
                </a:cubicBezTo>
                <a:cubicBezTo>
                  <a:pt x="414336" y="186546"/>
                  <a:pt x="420780" y="179387"/>
                  <a:pt x="430087" y="179387"/>
                </a:cubicBezTo>
                <a:close/>
                <a:moveTo>
                  <a:pt x="36512" y="36512"/>
                </a:moveTo>
                <a:lnTo>
                  <a:pt x="36512" y="1058862"/>
                </a:lnTo>
                <a:lnTo>
                  <a:pt x="1066800" y="1058862"/>
                </a:lnTo>
                <a:lnTo>
                  <a:pt x="1066800" y="36512"/>
                </a:lnTo>
                <a:close/>
                <a:moveTo>
                  <a:pt x="34234" y="0"/>
                </a:moveTo>
                <a:cubicBezTo>
                  <a:pt x="34234" y="0"/>
                  <a:pt x="34234" y="0"/>
                  <a:pt x="1069080" y="0"/>
                </a:cubicBezTo>
                <a:cubicBezTo>
                  <a:pt x="1087623" y="0"/>
                  <a:pt x="1103313" y="15702"/>
                  <a:pt x="1103313" y="34258"/>
                </a:cubicBezTo>
                <a:cubicBezTo>
                  <a:pt x="1103313" y="34258"/>
                  <a:pt x="1103313" y="34258"/>
                  <a:pt x="1103313" y="1062705"/>
                </a:cubicBezTo>
                <a:cubicBezTo>
                  <a:pt x="1103313" y="1081975"/>
                  <a:pt x="1087623" y="1096963"/>
                  <a:pt x="1069080" y="1096963"/>
                </a:cubicBezTo>
                <a:cubicBezTo>
                  <a:pt x="1069080" y="1096963"/>
                  <a:pt x="1069080" y="1096963"/>
                  <a:pt x="34234" y="1096963"/>
                </a:cubicBezTo>
                <a:cubicBezTo>
                  <a:pt x="15691" y="1096963"/>
                  <a:pt x="0" y="1081975"/>
                  <a:pt x="0" y="1062705"/>
                </a:cubicBezTo>
                <a:cubicBezTo>
                  <a:pt x="0" y="1062705"/>
                  <a:pt x="0" y="1062705"/>
                  <a:pt x="0" y="34258"/>
                </a:cubicBezTo>
                <a:cubicBezTo>
                  <a:pt x="0" y="15702"/>
                  <a:pt x="15691" y="0"/>
                  <a:pt x="34234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 dirty="0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146782" y="1617523"/>
            <a:ext cx="5899785" cy="55704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B61872"/>
                </a:solidFill>
              </a:rPr>
              <a:t>New process will be key to ensure optimal contract execution and anticipate performance improvement opportunities  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884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597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c 9"/>
          <p:cNvSpPr/>
          <p:nvPr/>
        </p:nvSpPr>
        <p:spPr>
          <a:xfrm>
            <a:off x="-3348143" y="446293"/>
            <a:ext cx="10466224" cy="10466220"/>
          </a:xfrm>
          <a:prstGeom prst="arc">
            <a:avLst>
              <a:gd name="adj1" fmla="val 14935356"/>
              <a:gd name="adj2" fmla="val 776267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Oval 16"/>
          <p:cNvSpPr/>
          <p:nvPr/>
        </p:nvSpPr>
        <p:spPr>
          <a:xfrm>
            <a:off x="5974390" y="2619047"/>
            <a:ext cx="1491930" cy="1491929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0" rtlCol="0" anchor="ctr"/>
          <a:lstStyle/>
          <a:p>
            <a:pPr algn="ctr"/>
            <a:endParaRPr lang="en-US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6115085" y="4933438"/>
            <a:ext cx="1491930" cy="1491929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0" rtlCol="0" anchor="ctr"/>
          <a:lstStyle/>
          <a:p>
            <a:pPr algn="ctr"/>
            <a:endParaRPr lang="en-US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4138216" y="842077"/>
            <a:ext cx="1491930" cy="1491929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rgbClr val="6E6F73"/>
                </a:gs>
                <a:gs pos="100000">
                  <a:srgbClr val="BEBEC0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0" rtlCol="0" anchor="ctr"/>
          <a:lstStyle/>
          <a:p>
            <a:pPr algn="ctr"/>
            <a:endParaRPr lang="en-US" sz="24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52" name="Freeform 51"/>
          <p:cNvSpPr/>
          <p:nvPr/>
        </p:nvSpPr>
        <p:spPr>
          <a:xfrm>
            <a:off x="2" y="2107476"/>
            <a:ext cx="5456903" cy="4750525"/>
          </a:xfrm>
          <a:custGeom>
            <a:avLst/>
            <a:gdLst>
              <a:gd name="connsiteX0" fmla="*/ 1884968 w 5456903"/>
              <a:gd name="connsiteY0" fmla="*/ 0 h 4750525"/>
              <a:gd name="connsiteX1" fmla="*/ 5456903 w 5456903"/>
              <a:gd name="connsiteY1" fmla="*/ 3571934 h 4750525"/>
              <a:gd name="connsiteX2" fmla="*/ 5296316 w 5456903"/>
              <a:gd name="connsiteY2" fmla="*/ 4634118 h 4750525"/>
              <a:gd name="connsiteX3" fmla="*/ 5256928 w 5456903"/>
              <a:gd name="connsiteY3" fmla="*/ 4750525 h 4750525"/>
              <a:gd name="connsiteX4" fmla="*/ 0 w 5456903"/>
              <a:gd name="connsiteY4" fmla="*/ 4750525 h 4750525"/>
              <a:gd name="connsiteX5" fmla="*/ 0 w 5456903"/>
              <a:gd name="connsiteY5" fmla="*/ 541907 h 4750525"/>
              <a:gd name="connsiteX6" fmla="*/ 182372 w 5456903"/>
              <a:gd name="connsiteY6" fmla="*/ 431113 h 4750525"/>
              <a:gd name="connsiteX7" fmla="*/ 1884968 w 5456903"/>
              <a:gd name="connsiteY7" fmla="*/ 0 h 475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56903" h="4750525">
                <a:moveTo>
                  <a:pt x="1884968" y="0"/>
                </a:moveTo>
                <a:cubicBezTo>
                  <a:pt x="3857693" y="0"/>
                  <a:pt x="5456903" y="1599209"/>
                  <a:pt x="5456903" y="3571934"/>
                </a:cubicBezTo>
                <a:cubicBezTo>
                  <a:pt x="5456903" y="3941820"/>
                  <a:pt x="5400681" y="4298575"/>
                  <a:pt x="5296316" y="4634118"/>
                </a:cubicBezTo>
                <a:lnTo>
                  <a:pt x="5256928" y="4750525"/>
                </a:lnTo>
                <a:lnTo>
                  <a:pt x="0" y="4750525"/>
                </a:lnTo>
                <a:lnTo>
                  <a:pt x="0" y="541907"/>
                </a:lnTo>
                <a:lnTo>
                  <a:pt x="182372" y="431113"/>
                </a:lnTo>
                <a:cubicBezTo>
                  <a:pt x="688491" y="156173"/>
                  <a:pt x="1268492" y="0"/>
                  <a:pt x="1884968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5760" tIns="0" rIns="91440" bIns="182880" rtlCol="0" anchor="ctr">
            <a:noAutofit/>
          </a:bodyPr>
          <a:lstStyle/>
          <a:p>
            <a:pPr>
              <a:lnSpc>
                <a:spcPct val="95000"/>
              </a:lnSpc>
            </a:pPr>
            <a:endParaRPr lang="en-US" sz="4000" dirty="0">
              <a:solidFill>
                <a:prstClr val="white"/>
              </a:solidFill>
            </a:endParaRPr>
          </a:p>
          <a:p>
            <a:pPr>
              <a:lnSpc>
                <a:spcPct val="95000"/>
              </a:lnSpc>
            </a:pPr>
            <a:endParaRPr lang="en-US" sz="4000" dirty="0">
              <a:solidFill>
                <a:prstClr val="white"/>
              </a:solidFill>
            </a:endParaRPr>
          </a:p>
          <a:p>
            <a:pPr>
              <a:lnSpc>
                <a:spcPct val="95000"/>
              </a:lnSpc>
            </a:pPr>
            <a:r>
              <a:rPr lang="en-US" sz="4000" dirty="0">
                <a:solidFill>
                  <a:prstClr val="white"/>
                </a:solidFill>
              </a:rPr>
              <a:t>Core </a:t>
            </a:r>
            <a:r>
              <a:rPr lang="en-US" sz="4000" dirty="0" err="1">
                <a:solidFill>
                  <a:prstClr val="white"/>
                </a:solidFill>
              </a:rPr>
              <a:t>SCM</a:t>
            </a:r>
            <a:r>
              <a:rPr lang="en-US" sz="4000" dirty="0">
                <a:solidFill>
                  <a:prstClr val="white"/>
                </a:solidFill>
              </a:rPr>
              <a:t> elements </a:t>
            </a:r>
            <a:br>
              <a:rPr lang="en-US" sz="4000" dirty="0">
                <a:solidFill>
                  <a:prstClr val="white"/>
                </a:solidFill>
              </a:rPr>
            </a:br>
            <a:r>
              <a:rPr lang="en-US" sz="4000" dirty="0">
                <a:solidFill>
                  <a:prstClr val="white"/>
                </a:solidFill>
              </a:rPr>
              <a:t>covered in Q4 2018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827471" y="915364"/>
            <a:ext cx="4610451" cy="8617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Clr>
                <a:schemeClr val="tx2"/>
              </a:buClr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Detailed assessment of sourcing spend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in each category</a:t>
            </a:r>
          </a:p>
          <a:p>
            <a:pPr marL="342900" indent="-342900">
              <a:buClr>
                <a:schemeClr val="tx2"/>
              </a:buClr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Prioritization of categories to focus optimization efforts and organization structure</a:t>
            </a:r>
          </a:p>
        </p:txBody>
      </p: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4335541" y="1039401"/>
            <a:ext cx="1097280" cy="1097280"/>
            <a:chOff x="5273675" y="2606675"/>
            <a:chExt cx="1644650" cy="1644650"/>
          </a:xfrm>
        </p:grpSpPr>
        <p:sp>
          <p:nvSpPr>
            <p:cNvPr id="54" name="AutoShape 9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5724321" y="2833688"/>
              <a:ext cx="778079" cy="1249362"/>
              <a:chOff x="5724321" y="2833688"/>
              <a:chExt cx="778079" cy="1249362"/>
            </a:xfrm>
          </p:grpSpPr>
          <p:sp>
            <p:nvSpPr>
              <p:cNvPr id="56" name="Freeform 11"/>
              <p:cNvSpPr>
                <a:spLocks/>
              </p:cNvSpPr>
              <p:nvPr/>
            </p:nvSpPr>
            <p:spPr bwMode="auto">
              <a:xfrm>
                <a:off x="5807075" y="2833688"/>
                <a:ext cx="695325" cy="866775"/>
              </a:xfrm>
              <a:custGeom>
                <a:avLst/>
                <a:gdLst>
                  <a:gd name="T0" fmla="*/ 744 w 974"/>
                  <a:gd name="T1" fmla="*/ 324 h 1216"/>
                  <a:gd name="T2" fmla="*/ 697 w 974"/>
                  <a:gd name="T3" fmla="*/ 281 h 1216"/>
                  <a:gd name="T4" fmla="*/ 490 w 974"/>
                  <a:gd name="T5" fmla="*/ 140 h 1216"/>
                  <a:gd name="T6" fmla="*/ 447 w 974"/>
                  <a:gd name="T7" fmla="*/ 114 h 1216"/>
                  <a:gd name="T8" fmla="*/ 439 w 974"/>
                  <a:gd name="T9" fmla="*/ 6 h 1216"/>
                  <a:gd name="T10" fmla="*/ 264 w 974"/>
                  <a:gd name="T11" fmla="*/ 125 h 1216"/>
                  <a:gd name="T12" fmla="*/ 75 w 974"/>
                  <a:gd name="T13" fmla="*/ 329 h 1216"/>
                  <a:gd name="T14" fmla="*/ 142 w 974"/>
                  <a:gd name="T15" fmla="*/ 602 h 1216"/>
                  <a:gd name="T16" fmla="*/ 49 w 974"/>
                  <a:gd name="T17" fmla="*/ 534 h 1216"/>
                  <a:gd name="T18" fmla="*/ 17 w 974"/>
                  <a:gd name="T19" fmla="*/ 681 h 1216"/>
                  <a:gd name="T20" fmla="*/ 63 w 974"/>
                  <a:gd name="T21" fmla="*/ 772 h 1216"/>
                  <a:gd name="T22" fmla="*/ 23 w 974"/>
                  <a:gd name="T23" fmla="*/ 880 h 1216"/>
                  <a:gd name="T24" fmla="*/ 59 w 974"/>
                  <a:gd name="T25" fmla="*/ 974 h 1216"/>
                  <a:gd name="T26" fmla="*/ 54 w 974"/>
                  <a:gd name="T27" fmla="*/ 1216 h 1216"/>
                  <a:gd name="T28" fmla="*/ 86 w 974"/>
                  <a:gd name="T29" fmla="*/ 1015 h 1216"/>
                  <a:gd name="T30" fmla="*/ 199 w 974"/>
                  <a:gd name="T31" fmla="*/ 1034 h 1216"/>
                  <a:gd name="T32" fmla="*/ 65 w 974"/>
                  <a:gd name="T33" fmla="*/ 868 h 1216"/>
                  <a:gd name="T34" fmla="*/ 210 w 974"/>
                  <a:gd name="T35" fmla="*/ 913 h 1216"/>
                  <a:gd name="T36" fmla="*/ 237 w 974"/>
                  <a:gd name="T37" fmla="*/ 880 h 1216"/>
                  <a:gd name="T38" fmla="*/ 54 w 974"/>
                  <a:gd name="T39" fmla="*/ 589 h 1216"/>
                  <a:gd name="T40" fmla="*/ 273 w 974"/>
                  <a:gd name="T41" fmla="*/ 758 h 1216"/>
                  <a:gd name="T42" fmla="*/ 85 w 974"/>
                  <a:gd name="T43" fmla="*/ 426 h 1216"/>
                  <a:gd name="T44" fmla="*/ 297 w 974"/>
                  <a:gd name="T45" fmla="*/ 154 h 1216"/>
                  <a:gd name="T46" fmla="*/ 410 w 974"/>
                  <a:gd name="T47" fmla="*/ 47 h 1216"/>
                  <a:gd name="T48" fmla="*/ 404 w 974"/>
                  <a:gd name="T49" fmla="*/ 104 h 1216"/>
                  <a:gd name="T50" fmla="*/ 476 w 974"/>
                  <a:gd name="T51" fmla="*/ 182 h 1216"/>
                  <a:gd name="T52" fmla="*/ 658 w 974"/>
                  <a:gd name="T53" fmla="*/ 300 h 1216"/>
                  <a:gd name="T54" fmla="*/ 718 w 974"/>
                  <a:gd name="T55" fmla="*/ 360 h 1216"/>
                  <a:gd name="T56" fmla="*/ 851 w 974"/>
                  <a:gd name="T57" fmla="*/ 664 h 1216"/>
                  <a:gd name="T58" fmla="*/ 631 w 974"/>
                  <a:gd name="T59" fmla="*/ 568 h 1216"/>
                  <a:gd name="T60" fmla="*/ 465 w 974"/>
                  <a:gd name="T61" fmla="*/ 619 h 1216"/>
                  <a:gd name="T62" fmla="*/ 438 w 974"/>
                  <a:gd name="T63" fmla="*/ 649 h 1216"/>
                  <a:gd name="T64" fmla="*/ 500 w 974"/>
                  <a:gd name="T65" fmla="*/ 752 h 1216"/>
                  <a:gd name="T66" fmla="*/ 673 w 974"/>
                  <a:gd name="T67" fmla="*/ 1216 h 1216"/>
                  <a:gd name="T68" fmla="*/ 679 w 974"/>
                  <a:gd name="T69" fmla="*/ 922 h 1216"/>
                  <a:gd name="T70" fmla="*/ 525 w 974"/>
                  <a:gd name="T71" fmla="*/ 715 h 1216"/>
                  <a:gd name="T72" fmla="*/ 584 w 974"/>
                  <a:gd name="T73" fmla="*/ 630 h 1216"/>
                  <a:gd name="T74" fmla="*/ 677 w 974"/>
                  <a:gd name="T75" fmla="*/ 641 h 1216"/>
                  <a:gd name="T76" fmla="*/ 922 w 974"/>
                  <a:gd name="T77" fmla="*/ 471 h 1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74" h="1216">
                    <a:moveTo>
                      <a:pt x="922" y="471"/>
                    </a:moveTo>
                    <a:cubicBezTo>
                      <a:pt x="911" y="446"/>
                      <a:pt x="851" y="400"/>
                      <a:pt x="744" y="324"/>
                    </a:cubicBezTo>
                    <a:cubicBezTo>
                      <a:pt x="727" y="313"/>
                      <a:pt x="710" y="301"/>
                      <a:pt x="707" y="298"/>
                    </a:cubicBezTo>
                    <a:cubicBezTo>
                      <a:pt x="704" y="295"/>
                      <a:pt x="701" y="288"/>
                      <a:pt x="697" y="281"/>
                    </a:cubicBezTo>
                    <a:cubicBezTo>
                      <a:pt x="690" y="266"/>
                      <a:pt x="680" y="246"/>
                      <a:pt x="659" y="221"/>
                    </a:cubicBezTo>
                    <a:cubicBezTo>
                      <a:pt x="635" y="191"/>
                      <a:pt x="568" y="167"/>
                      <a:pt x="490" y="140"/>
                    </a:cubicBezTo>
                    <a:cubicBezTo>
                      <a:pt x="471" y="134"/>
                      <a:pt x="450" y="126"/>
                      <a:pt x="445" y="123"/>
                    </a:cubicBezTo>
                    <a:cubicBezTo>
                      <a:pt x="445" y="121"/>
                      <a:pt x="446" y="117"/>
                      <a:pt x="447" y="114"/>
                    </a:cubicBezTo>
                    <a:cubicBezTo>
                      <a:pt x="449" y="105"/>
                      <a:pt x="452" y="93"/>
                      <a:pt x="454" y="76"/>
                    </a:cubicBezTo>
                    <a:cubicBezTo>
                      <a:pt x="458" y="28"/>
                      <a:pt x="445" y="11"/>
                      <a:pt x="439" y="6"/>
                    </a:cubicBezTo>
                    <a:cubicBezTo>
                      <a:pt x="434" y="2"/>
                      <a:pt x="428" y="0"/>
                      <a:pt x="422" y="0"/>
                    </a:cubicBezTo>
                    <a:cubicBezTo>
                      <a:pt x="343" y="7"/>
                      <a:pt x="286" y="93"/>
                      <a:pt x="264" y="125"/>
                    </a:cubicBezTo>
                    <a:cubicBezTo>
                      <a:pt x="261" y="130"/>
                      <a:pt x="261" y="130"/>
                      <a:pt x="261" y="130"/>
                    </a:cubicBezTo>
                    <a:cubicBezTo>
                      <a:pt x="246" y="150"/>
                      <a:pt x="97" y="311"/>
                      <a:pt x="75" y="329"/>
                    </a:cubicBezTo>
                    <a:cubicBezTo>
                      <a:pt x="42" y="356"/>
                      <a:pt x="41" y="430"/>
                      <a:pt x="41" y="430"/>
                    </a:cubicBezTo>
                    <a:cubicBezTo>
                      <a:pt x="41" y="439"/>
                      <a:pt x="41" y="444"/>
                      <a:pt x="142" y="602"/>
                    </a:cubicBezTo>
                    <a:cubicBezTo>
                      <a:pt x="145" y="605"/>
                      <a:pt x="147" y="609"/>
                      <a:pt x="149" y="612"/>
                    </a:cubicBezTo>
                    <a:cubicBezTo>
                      <a:pt x="64" y="537"/>
                      <a:pt x="56" y="535"/>
                      <a:pt x="49" y="534"/>
                    </a:cubicBezTo>
                    <a:cubicBezTo>
                      <a:pt x="40" y="532"/>
                      <a:pt x="30" y="535"/>
                      <a:pt x="23" y="542"/>
                    </a:cubicBezTo>
                    <a:cubicBezTo>
                      <a:pt x="0" y="567"/>
                      <a:pt x="12" y="664"/>
                      <a:pt x="17" y="681"/>
                    </a:cubicBezTo>
                    <a:cubicBezTo>
                      <a:pt x="21" y="698"/>
                      <a:pt x="60" y="746"/>
                      <a:pt x="105" y="797"/>
                    </a:cubicBezTo>
                    <a:cubicBezTo>
                      <a:pt x="85" y="785"/>
                      <a:pt x="69" y="776"/>
                      <a:pt x="63" y="772"/>
                    </a:cubicBezTo>
                    <a:cubicBezTo>
                      <a:pt x="52" y="766"/>
                      <a:pt x="40" y="767"/>
                      <a:pt x="31" y="774"/>
                    </a:cubicBezTo>
                    <a:cubicBezTo>
                      <a:pt x="2" y="796"/>
                      <a:pt x="23" y="879"/>
                      <a:pt x="23" y="880"/>
                    </a:cubicBezTo>
                    <a:cubicBezTo>
                      <a:pt x="27" y="896"/>
                      <a:pt x="60" y="932"/>
                      <a:pt x="99" y="972"/>
                    </a:cubicBezTo>
                    <a:cubicBezTo>
                      <a:pt x="72" y="967"/>
                      <a:pt x="63" y="971"/>
                      <a:pt x="59" y="974"/>
                    </a:cubicBezTo>
                    <a:cubicBezTo>
                      <a:pt x="45" y="981"/>
                      <a:pt x="37" y="992"/>
                      <a:pt x="45" y="1111"/>
                    </a:cubicBezTo>
                    <a:cubicBezTo>
                      <a:pt x="48" y="1156"/>
                      <a:pt x="52" y="1202"/>
                      <a:pt x="54" y="1216"/>
                    </a:cubicBezTo>
                    <a:cubicBezTo>
                      <a:pt x="98" y="1216"/>
                      <a:pt x="98" y="1216"/>
                      <a:pt x="98" y="1216"/>
                    </a:cubicBezTo>
                    <a:cubicBezTo>
                      <a:pt x="90" y="1139"/>
                      <a:pt x="84" y="1047"/>
                      <a:pt x="86" y="1015"/>
                    </a:cubicBezTo>
                    <a:cubicBezTo>
                      <a:pt x="104" y="1018"/>
                      <a:pt x="139" y="1029"/>
                      <a:pt x="172" y="1043"/>
                    </a:cubicBezTo>
                    <a:cubicBezTo>
                      <a:pt x="182" y="1047"/>
                      <a:pt x="193" y="1043"/>
                      <a:pt x="199" y="1034"/>
                    </a:cubicBezTo>
                    <a:cubicBezTo>
                      <a:pt x="205" y="1025"/>
                      <a:pt x="204" y="1014"/>
                      <a:pt x="196" y="1006"/>
                    </a:cubicBezTo>
                    <a:cubicBezTo>
                      <a:pt x="139" y="951"/>
                      <a:pt x="73" y="883"/>
                      <a:pt x="65" y="868"/>
                    </a:cubicBezTo>
                    <a:cubicBezTo>
                      <a:pt x="62" y="856"/>
                      <a:pt x="60" y="836"/>
                      <a:pt x="60" y="822"/>
                    </a:cubicBezTo>
                    <a:cubicBezTo>
                      <a:pt x="105" y="849"/>
                      <a:pt x="208" y="913"/>
                      <a:pt x="210" y="913"/>
                    </a:cubicBezTo>
                    <a:cubicBezTo>
                      <a:pt x="219" y="919"/>
                      <a:pt x="231" y="917"/>
                      <a:pt x="238" y="909"/>
                    </a:cubicBezTo>
                    <a:cubicBezTo>
                      <a:pt x="245" y="900"/>
                      <a:pt x="245" y="888"/>
                      <a:pt x="237" y="880"/>
                    </a:cubicBezTo>
                    <a:cubicBezTo>
                      <a:pt x="156" y="791"/>
                      <a:pt x="67" y="688"/>
                      <a:pt x="59" y="669"/>
                    </a:cubicBezTo>
                    <a:cubicBezTo>
                      <a:pt x="54" y="652"/>
                      <a:pt x="52" y="613"/>
                      <a:pt x="54" y="589"/>
                    </a:cubicBezTo>
                    <a:cubicBezTo>
                      <a:pt x="90" y="618"/>
                      <a:pt x="171" y="690"/>
                      <a:pt x="244" y="758"/>
                    </a:cubicBezTo>
                    <a:cubicBezTo>
                      <a:pt x="252" y="765"/>
                      <a:pt x="264" y="766"/>
                      <a:pt x="273" y="758"/>
                    </a:cubicBezTo>
                    <a:cubicBezTo>
                      <a:pt x="281" y="751"/>
                      <a:pt x="283" y="739"/>
                      <a:pt x="277" y="730"/>
                    </a:cubicBezTo>
                    <a:cubicBezTo>
                      <a:pt x="209" y="625"/>
                      <a:pt x="100" y="455"/>
                      <a:pt x="85" y="426"/>
                    </a:cubicBezTo>
                    <a:cubicBezTo>
                      <a:pt x="86" y="405"/>
                      <a:pt x="93" y="371"/>
                      <a:pt x="103" y="363"/>
                    </a:cubicBezTo>
                    <a:cubicBezTo>
                      <a:pt x="125" y="345"/>
                      <a:pt x="279" y="181"/>
                      <a:pt x="297" y="154"/>
                    </a:cubicBezTo>
                    <a:cubicBezTo>
                      <a:pt x="300" y="150"/>
                      <a:pt x="300" y="150"/>
                      <a:pt x="300" y="150"/>
                    </a:cubicBezTo>
                    <a:cubicBezTo>
                      <a:pt x="316" y="127"/>
                      <a:pt x="359" y="63"/>
                      <a:pt x="410" y="47"/>
                    </a:cubicBezTo>
                    <a:cubicBezTo>
                      <a:pt x="411" y="53"/>
                      <a:pt x="411" y="61"/>
                      <a:pt x="410" y="72"/>
                    </a:cubicBezTo>
                    <a:cubicBezTo>
                      <a:pt x="409" y="85"/>
                      <a:pt x="406" y="95"/>
                      <a:pt x="404" y="104"/>
                    </a:cubicBezTo>
                    <a:cubicBezTo>
                      <a:pt x="400" y="121"/>
                      <a:pt x="394" y="144"/>
                      <a:pt x="421" y="161"/>
                    </a:cubicBezTo>
                    <a:cubicBezTo>
                      <a:pt x="429" y="166"/>
                      <a:pt x="445" y="171"/>
                      <a:pt x="476" y="182"/>
                    </a:cubicBezTo>
                    <a:cubicBezTo>
                      <a:pt x="522" y="197"/>
                      <a:pt x="607" y="227"/>
                      <a:pt x="626" y="249"/>
                    </a:cubicBezTo>
                    <a:cubicBezTo>
                      <a:pt x="643" y="270"/>
                      <a:pt x="651" y="286"/>
                      <a:pt x="658" y="300"/>
                    </a:cubicBezTo>
                    <a:cubicBezTo>
                      <a:pt x="663" y="312"/>
                      <a:pt x="668" y="322"/>
                      <a:pt x="678" y="330"/>
                    </a:cubicBezTo>
                    <a:cubicBezTo>
                      <a:pt x="682" y="335"/>
                      <a:pt x="693" y="343"/>
                      <a:pt x="718" y="360"/>
                    </a:cubicBezTo>
                    <a:cubicBezTo>
                      <a:pt x="760" y="390"/>
                      <a:pt x="871" y="468"/>
                      <a:pt x="881" y="489"/>
                    </a:cubicBezTo>
                    <a:cubicBezTo>
                      <a:pt x="891" y="511"/>
                      <a:pt x="923" y="631"/>
                      <a:pt x="851" y="664"/>
                    </a:cubicBezTo>
                    <a:cubicBezTo>
                      <a:pt x="807" y="685"/>
                      <a:pt x="747" y="639"/>
                      <a:pt x="704" y="606"/>
                    </a:cubicBezTo>
                    <a:cubicBezTo>
                      <a:pt x="672" y="582"/>
                      <a:pt x="651" y="566"/>
                      <a:pt x="631" y="568"/>
                    </a:cubicBezTo>
                    <a:cubicBezTo>
                      <a:pt x="616" y="570"/>
                      <a:pt x="594" y="579"/>
                      <a:pt x="567" y="590"/>
                    </a:cubicBezTo>
                    <a:cubicBezTo>
                      <a:pt x="537" y="602"/>
                      <a:pt x="481" y="625"/>
                      <a:pt x="465" y="619"/>
                    </a:cubicBezTo>
                    <a:cubicBezTo>
                      <a:pt x="457" y="616"/>
                      <a:pt x="447" y="618"/>
                      <a:pt x="441" y="625"/>
                    </a:cubicBezTo>
                    <a:cubicBezTo>
                      <a:pt x="435" y="631"/>
                      <a:pt x="434" y="641"/>
                      <a:pt x="438" y="649"/>
                    </a:cubicBezTo>
                    <a:cubicBezTo>
                      <a:pt x="441" y="656"/>
                      <a:pt x="469" y="716"/>
                      <a:pt x="492" y="743"/>
                    </a:cubicBezTo>
                    <a:cubicBezTo>
                      <a:pt x="493" y="745"/>
                      <a:pt x="496" y="748"/>
                      <a:pt x="500" y="752"/>
                    </a:cubicBezTo>
                    <a:cubicBezTo>
                      <a:pt x="671" y="942"/>
                      <a:pt x="734" y="1104"/>
                      <a:pt x="676" y="1208"/>
                    </a:cubicBezTo>
                    <a:cubicBezTo>
                      <a:pt x="674" y="1211"/>
                      <a:pt x="673" y="1213"/>
                      <a:pt x="673" y="1216"/>
                    </a:cubicBezTo>
                    <a:cubicBezTo>
                      <a:pt x="721" y="1216"/>
                      <a:pt x="721" y="1216"/>
                      <a:pt x="721" y="1216"/>
                    </a:cubicBezTo>
                    <a:cubicBezTo>
                      <a:pt x="758" y="1137"/>
                      <a:pt x="744" y="1038"/>
                      <a:pt x="679" y="922"/>
                    </a:cubicBezTo>
                    <a:cubicBezTo>
                      <a:pt x="627" y="827"/>
                      <a:pt x="556" y="748"/>
                      <a:pt x="532" y="722"/>
                    </a:cubicBezTo>
                    <a:cubicBezTo>
                      <a:pt x="529" y="719"/>
                      <a:pt x="527" y="716"/>
                      <a:pt x="525" y="715"/>
                    </a:cubicBezTo>
                    <a:cubicBezTo>
                      <a:pt x="516" y="703"/>
                      <a:pt x="503" y="681"/>
                      <a:pt x="493" y="662"/>
                    </a:cubicBezTo>
                    <a:cubicBezTo>
                      <a:pt x="518" y="657"/>
                      <a:pt x="548" y="645"/>
                      <a:pt x="584" y="630"/>
                    </a:cubicBezTo>
                    <a:cubicBezTo>
                      <a:pt x="603" y="622"/>
                      <a:pt x="625" y="614"/>
                      <a:pt x="635" y="612"/>
                    </a:cubicBezTo>
                    <a:cubicBezTo>
                      <a:pt x="642" y="614"/>
                      <a:pt x="662" y="629"/>
                      <a:pt x="677" y="641"/>
                    </a:cubicBezTo>
                    <a:cubicBezTo>
                      <a:pt x="726" y="679"/>
                      <a:pt x="801" y="737"/>
                      <a:pt x="870" y="704"/>
                    </a:cubicBezTo>
                    <a:cubicBezTo>
                      <a:pt x="974" y="655"/>
                      <a:pt x="937" y="508"/>
                      <a:pt x="922" y="4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5724321" y="3732212"/>
                <a:ext cx="741770" cy="350838"/>
              </a:xfrm>
              <a:custGeom>
                <a:avLst/>
                <a:gdLst>
                  <a:gd name="connsiteX0" fmla="*/ 146047 w 741770"/>
                  <a:gd name="connsiteY0" fmla="*/ 155575 h 350838"/>
                  <a:gd name="connsiteX1" fmla="*/ 595723 w 741770"/>
                  <a:gd name="connsiteY1" fmla="*/ 155575 h 350838"/>
                  <a:gd name="connsiteX2" fmla="*/ 600006 w 741770"/>
                  <a:gd name="connsiteY2" fmla="*/ 159151 h 350838"/>
                  <a:gd name="connsiteX3" fmla="*/ 738478 w 741770"/>
                  <a:gd name="connsiteY3" fmla="*/ 326520 h 350838"/>
                  <a:gd name="connsiteX4" fmla="*/ 727057 w 741770"/>
                  <a:gd name="connsiteY4" fmla="*/ 350838 h 350838"/>
                  <a:gd name="connsiteX5" fmla="*/ 14713 w 741770"/>
                  <a:gd name="connsiteY5" fmla="*/ 350838 h 350838"/>
                  <a:gd name="connsiteX6" fmla="*/ 3292 w 741770"/>
                  <a:gd name="connsiteY6" fmla="*/ 326520 h 350838"/>
                  <a:gd name="connsiteX7" fmla="*/ 141764 w 741770"/>
                  <a:gd name="connsiteY7" fmla="*/ 159151 h 350838"/>
                  <a:gd name="connsiteX8" fmla="*/ 146047 w 741770"/>
                  <a:gd name="connsiteY8" fmla="*/ 155575 h 350838"/>
                  <a:gd name="connsiteX9" fmla="*/ 93070 w 741770"/>
                  <a:gd name="connsiteY9" fmla="*/ 0 h 350838"/>
                  <a:gd name="connsiteX10" fmla="*/ 648699 w 741770"/>
                  <a:gd name="connsiteY10" fmla="*/ 0 h 350838"/>
                  <a:gd name="connsiteX11" fmla="*/ 655841 w 741770"/>
                  <a:gd name="connsiteY11" fmla="*/ 7158 h 350838"/>
                  <a:gd name="connsiteX12" fmla="*/ 655841 w 741770"/>
                  <a:gd name="connsiteY12" fmla="*/ 116668 h 350838"/>
                  <a:gd name="connsiteX13" fmla="*/ 648699 w 741770"/>
                  <a:gd name="connsiteY13" fmla="*/ 123825 h 350838"/>
                  <a:gd name="connsiteX14" fmla="*/ 93070 w 741770"/>
                  <a:gd name="connsiteY14" fmla="*/ 123825 h 350838"/>
                  <a:gd name="connsiteX15" fmla="*/ 85928 w 741770"/>
                  <a:gd name="connsiteY15" fmla="*/ 116668 h 350838"/>
                  <a:gd name="connsiteX16" fmla="*/ 85928 w 741770"/>
                  <a:gd name="connsiteY16" fmla="*/ 7158 h 350838"/>
                  <a:gd name="connsiteX17" fmla="*/ 93070 w 741770"/>
                  <a:gd name="connsiteY17" fmla="*/ 0 h 350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41770" h="350838">
                    <a:moveTo>
                      <a:pt x="146047" y="155575"/>
                    </a:moveTo>
                    <a:cubicBezTo>
                      <a:pt x="146047" y="155575"/>
                      <a:pt x="146047" y="155575"/>
                      <a:pt x="595723" y="155575"/>
                    </a:cubicBezTo>
                    <a:cubicBezTo>
                      <a:pt x="597151" y="157006"/>
                      <a:pt x="598578" y="157721"/>
                      <a:pt x="600006" y="159151"/>
                    </a:cubicBezTo>
                    <a:cubicBezTo>
                      <a:pt x="600006" y="159151"/>
                      <a:pt x="600006" y="159151"/>
                      <a:pt x="738478" y="326520"/>
                    </a:cubicBezTo>
                    <a:cubicBezTo>
                      <a:pt x="746329" y="335818"/>
                      <a:pt x="739192" y="350838"/>
                      <a:pt x="727057" y="350838"/>
                    </a:cubicBezTo>
                    <a:cubicBezTo>
                      <a:pt x="727057" y="350838"/>
                      <a:pt x="727057" y="350838"/>
                      <a:pt x="14713" y="350838"/>
                    </a:cubicBezTo>
                    <a:cubicBezTo>
                      <a:pt x="2578" y="350838"/>
                      <a:pt x="-4559" y="335818"/>
                      <a:pt x="3292" y="326520"/>
                    </a:cubicBezTo>
                    <a:cubicBezTo>
                      <a:pt x="3292" y="326520"/>
                      <a:pt x="3292" y="326520"/>
                      <a:pt x="141764" y="159151"/>
                    </a:cubicBezTo>
                    <a:cubicBezTo>
                      <a:pt x="143192" y="157721"/>
                      <a:pt x="144620" y="157006"/>
                      <a:pt x="146047" y="155575"/>
                    </a:cubicBezTo>
                    <a:close/>
                    <a:moveTo>
                      <a:pt x="93070" y="0"/>
                    </a:moveTo>
                    <a:cubicBezTo>
                      <a:pt x="93070" y="0"/>
                      <a:pt x="93070" y="0"/>
                      <a:pt x="648699" y="0"/>
                    </a:cubicBezTo>
                    <a:cubicBezTo>
                      <a:pt x="652270" y="0"/>
                      <a:pt x="655841" y="3579"/>
                      <a:pt x="655841" y="7158"/>
                    </a:cubicBezTo>
                    <a:cubicBezTo>
                      <a:pt x="655841" y="7158"/>
                      <a:pt x="655841" y="7158"/>
                      <a:pt x="655841" y="116668"/>
                    </a:cubicBezTo>
                    <a:cubicBezTo>
                      <a:pt x="655841" y="120962"/>
                      <a:pt x="652270" y="123825"/>
                      <a:pt x="648699" y="123825"/>
                    </a:cubicBezTo>
                    <a:cubicBezTo>
                      <a:pt x="648699" y="123825"/>
                      <a:pt x="648699" y="123825"/>
                      <a:pt x="93070" y="123825"/>
                    </a:cubicBezTo>
                    <a:cubicBezTo>
                      <a:pt x="89499" y="123825"/>
                      <a:pt x="85928" y="120962"/>
                      <a:pt x="85928" y="116668"/>
                    </a:cubicBezTo>
                    <a:cubicBezTo>
                      <a:pt x="85928" y="116668"/>
                      <a:pt x="85928" y="116668"/>
                      <a:pt x="85928" y="7158"/>
                    </a:cubicBezTo>
                    <a:cubicBezTo>
                      <a:pt x="85928" y="3579"/>
                      <a:pt x="89499" y="0"/>
                      <a:pt x="9307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6172223" y="2816372"/>
            <a:ext cx="1096264" cy="1097280"/>
            <a:chOff x="5273803" y="2606040"/>
            <a:chExt cx="1644396" cy="1645920"/>
          </a:xfrm>
        </p:grpSpPr>
        <p:sp>
          <p:nvSpPr>
            <p:cNvPr id="64" name="AutoShape 13">
              <a:extLst>
                <a:ext uri="{FF2B5EF4-FFF2-40B4-BE49-F238E27FC236}">
                  <a16:creationId xmlns:a16="http://schemas.microsoft.com/office/drawing/2014/main" id="{29016D3E-1273-434F-90D5-5078F0FBBC0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5478781" y="2773299"/>
              <a:ext cx="1233297" cy="1272159"/>
              <a:chOff x="5478781" y="2773299"/>
              <a:chExt cx="1233297" cy="1272159"/>
            </a:xfrm>
          </p:grpSpPr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AE388F92-54E0-4BC0-9CBC-2CF2AB0B27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1265" y="2773299"/>
                <a:ext cx="1107948" cy="1209294"/>
              </a:xfrm>
              <a:custGeom>
                <a:avLst/>
                <a:gdLst>
                  <a:gd name="T0" fmla="*/ 1072 w 1552"/>
                  <a:gd name="T1" fmla="*/ 421 h 1693"/>
                  <a:gd name="T2" fmla="*/ 1072 w 1552"/>
                  <a:gd name="T3" fmla="*/ 420 h 1693"/>
                  <a:gd name="T4" fmla="*/ 1037 w 1552"/>
                  <a:gd name="T5" fmla="*/ 469 h 1693"/>
                  <a:gd name="T6" fmla="*/ 1014 w 1552"/>
                  <a:gd name="T7" fmla="*/ 469 h 1693"/>
                  <a:gd name="T8" fmla="*/ 1011 w 1552"/>
                  <a:gd name="T9" fmla="*/ 238 h 1693"/>
                  <a:gd name="T10" fmla="*/ 608 w 1552"/>
                  <a:gd name="T11" fmla="*/ 252 h 1693"/>
                  <a:gd name="T12" fmla="*/ 532 w 1552"/>
                  <a:gd name="T13" fmla="*/ 465 h 1693"/>
                  <a:gd name="T14" fmla="*/ 512 w 1552"/>
                  <a:gd name="T15" fmla="*/ 463 h 1693"/>
                  <a:gd name="T16" fmla="*/ 481 w 1552"/>
                  <a:gd name="T17" fmla="*/ 424 h 1693"/>
                  <a:gd name="T18" fmla="*/ 481 w 1552"/>
                  <a:gd name="T19" fmla="*/ 424 h 1693"/>
                  <a:gd name="T20" fmla="*/ 469 w 1552"/>
                  <a:gd name="T21" fmla="*/ 314 h 1693"/>
                  <a:gd name="T22" fmla="*/ 776 w 1552"/>
                  <a:gd name="T23" fmla="*/ 0 h 1693"/>
                  <a:gd name="T24" fmla="*/ 1083 w 1552"/>
                  <a:gd name="T25" fmla="*/ 314 h 1693"/>
                  <a:gd name="T26" fmla="*/ 1072 w 1552"/>
                  <a:gd name="T27" fmla="*/ 421 h 1693"/>
                  <a:gd name="T28" fmla="*/ 848 w 1552"/>
                  <a:gd name="T29" fmla="*/ 1124 h 1693"/>
                  <a:gd name="T30" fmla="*/ 803 w 1552"/>
                  <a:gd name="T31" fmla="*/ 992 h 1693"/>
                  <a:gd name="T32" fmla="*/ 803 w 1552"/>
                  <a:gd name="T33" fmla="*/ 987 h 1693"/>
                  <a:gd name="T34" fmla="*/ 845 w 1552"/>
                  <a:gd name="T35" fmla="*/ 921 h 1693"/>
                  <a:gd name="T36" fmla="*/ 841 w 1552"/>
                  <a:gd name="T37" fmla="*/ 912 h 1693"/>
                  <a:gd name="T38" fmla="*/ 778 w 1552"/>
                  <a:gd name="T39" fmla="*/ 903 h 1693"/>
                  <a:gd name="T40" fmla="*/ 712 w 1552"/>
                  <a:gd name="T41" fmla="*/ 912 h 1693"/>
                  <a:gd name="T42" fmla="*/ 708 w 1552"/>
                  <a:gd name="T43" fmla="*/ 922 h 1693"/>
                  <a:gd name="T44" fmla="*/ 749 w 1552"/>
                  <a:gd name="T45" fmla="*/ 987 h 1693"/>
                  <a:gd name="T46" fmla="*/ 750 w 1552"/>
                  <a:gd name="T47" fmla="*/ 992 h 1693"/>
                  <a:gd name="T48" fmla="*/ 701 w 1552"/>
                  <a:gd name="T49" fmla="*/ 1124 h 1693"/>
                  <a:gd name="T50" fmla="*/ 707 w 1552"/>
                  <a:gd name="T51" fmla="*/ 1132 h 1693"/>
                  <a:gd name="T52" fmla="*/ 841 w 1552"/>
                  <a:gd name="T53" fmla="*/ 1132 h 1693"/>
                  <a:gd name="T54" fmla="*/ 848 w 1552"/>
                  <a:gd name="T55" fmla="*/ 1124 h 1693"/>
                  <a:gd name="T56" fmla="*/ 636 w 1552"/>
                  <a:gd name="T57" fmla="*/ 1693 h 1693"/>
                  <a:gd name="T58" fmla="*/ 911 w 1552"/>
                  <a:gd name="T59" fmla="*/ 1693 h 1693"/>
                  <a:gd name="T60" fmla="*/ 921 w 1552"/>
                  <a:gd name="T61" fmla="*/ 1683 h 1693"/>
                  <a:gd name="T62" fmla="*/ 921 w 1552"/>
                  <a:gd name="T63" fmla="*/ 1580 h 1693"/>
                  <a:gd name="T64" fmla="*/ 911 w 1552"/>
                  <a:gd name="T65" fmla="*/ 1570 h 1693"/>
                  <a:gd name="T66" fmla="*/ 636 w 1552"/>
                  <a:gd name="T67" fmla="*/ 1570 h 1693"/>
                  <a:gd name="T68" fmla="*/ 626 w 1552"/>
                  <a:gd name="T69" fmla="*/ 1580 h 1693"/>
                  <a:gd name="T70" fmla="*/ 626 w 1552"/>
                  <a:gd name="T71" fmla="*/ 1683 h 1693"/>
                  <a:gd name="T72" fmla="*/ 636 w 1552"/>
                  <a:gd name="T73" fmla="*/ 1693 h 1693"/>
                  <a:gd name="T74" fmla="*/ 1267 w 1552"/>
                  <a:gd name="T75" fmla="*/ 1693 h 1693"/>
                  <a:gd name="T76" fmla="*/ 1542 w 1552"/>
                  <a:gd name="T77" fmla="*/ 1693 h 1693"/>
                  <a:gd name="T78" fmla="*/ 1552 w 1552"/>
                  <a:gd name="T79" fmla="*/ 1683 h 1693"/>
                  <a:gd name="T80" fmla="*/ 1552 w 1552"/>
                  <a:gd name="T81" fmla="*/ 1580 h 1693"/>
                  <a:gd name="T82" fmla="*/ 1542 w 1552"/>
                  <a:gd name="T83" fmla="*/ 1570 h 1693"/>
                  <a:gd name="T84" fmla="*/ 1267 w 1552"/>
                  <a:gd name="T85" fmla="*/ 1570 h 1693"/>
                  <a:gd name="T86" fmla="*/ 1257 w 1552"/>
                  <a:gd name="T87" fmla="*/ 1580 h 1693"/>
                  <a:gd name="T88" fmla="*/ 1257 w 1552"/>
                  <a:gd name="T89" fmla="*/ 1683 h 1693"/>
                  <a:gd name="T90" fmla="*/ 1267 w 1552"/>
                  <a:gd name="T91" fmla="*/ 1693 h 1693"/>
                  <a:gd name="T92" fmla="*/ 10 w 1552"/>
                  <a:gd name="T93" fmla="*/ 1693 h 1693"/>
                  <a:gd name="T94" fmla="*/ 285 w 1552"/>
                  <a:gd name="T95" fmla="*/ 1693 h 1693"/>
                  <a:gd name="T96" fmla="*/ 295 w 1552"/>
                  <a:gd name="T97" fmla="*/ 1683 h 1693"/>
                  <a:gd name="T98" fmla="*/ 295 w 1552"/>
                  <a:gd name="T99" fmla="*/ 1580 h 1693"/>
                  <a:gd name="T100" fmla="*/ 285 w 1552"/>
                  <a:gd name="T101" fmla="*/ 1570 h 1693"/>
                  <a:gd name="T102" fmla="*/ 10 w 1552"/>
                  <a:gd name="T103" fmla="*/ 1570 h 1693"/>
                  <a:gd name="T104" fmla="*/ 0 w 1552"/>
                  <a:gd name="T105" fmla="*/ 1580 h 1693"/>
                  <a:gd name="T106" fmla="*/ 0 w 1552"/>
                  <a:gd name="T107" fmla="*/ 1683 h 1693"/>
                  <a:gd name="T108" fmla="*/ 10 w 1552"/>
                  <a:gd name="T109" fmla="*/ 1693 h 1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52" h="1693">
                    <a:moveTo>
                      <a:pt x="1072" y="421"/>
                    </a:moveTo>
                    <a:cubicBezTo>
                      <a:pt x="1072" y="420"/>
                      <a:pt x="1072" y="420"/>
                      <a:pt x="1072" y="420"/>
                    </a:cubicBezTo>
                    <a:cubicBezTo>
                      <a:pt x="1071" y="420"/>
                      <a:pt x="1066" y="436"/>
                      <a:pt x="1037" y="469"/>
                    </a:cubicBezTo>
                    <a:cubicBezTo>
                      <a:pt x="1037" y="469"/>
                      <a:pt x="1037" y="469"/>
                      <a:pt x="1014" y="469"/>
                    </a:cubicBezTo>
                    <a:cubicBezTo>
                      <a:pt x="1014" y="469"/>
                      <a:pt x="1014" y="458"/>
                      <a:pt x="1011" y="238"/>
                    </a:cubicBezTo>
                    <a:cubicBezTo>
                      <a:pt x="977" y="414"/>
                      <a:pt x="608" y="252"/>
                      <a:pt x="608" y="252"/>
                    </a:cubicBezTo>
                    <a:cubicBezTo>
                      <a:pt x="516" y="280"/>
                      <a:pt x="532" y="465"/>
                      <a:pt x="532" y="465"/>
                    </a:cubicBezTo>
                    <a:cubicBezTo>
                      <a:pt x="532" y="465"/>
                      <a:pt x="532" y="465"/>
                      <a:pt x="512" y="463"/>
                    </a:cubicBezTo>
                    <a:cubicBezTo>
                      <a:pt x="512" y="463"/>
                      <a:pt x="512" y="452"/>
                      <a:pt x="481" y="424"/>
                    </a:cubicBezTo>
                    <a:cubicBezTo>
                      <a:pt x="481" y="424"/>
                      <a:pt x="481" y="424"/>
                      <a:pt x="481" y="424"/>
                    </a:cubicBezTo>
                    <a:cubicBezTo>
                      <a:pt x="469" y="390"/>
                      <a:pt x="469" y="353"/>
                      <a:pt x="469" y="314"/>
                    </a:cubicBezTo>
                    <a:cubicBezTo>
                      <a:pt x="469" y="140"/>
                      <a:pt x="602" y="0"/>
                      <a:pt x="776" y="0"/>
                    </a:cubicBezTo>
                    <a:cubicBezTo>
                      <a:pt x="950" y="0"/>
                      <a:pt x="1083" y="140"/>
                      <a:pt x="1083" y="314"/>
                    </a:cubicBezTo>
                    <a:cubicBezTo>
                      <a:pt x="1083" y="351"/>
                      <a:pt x="1084" y="387"/>
                      <a:pt x="1072" y="421"/>
                    </a:cubicBezTo>
                    <a:close/>
                    <a:moveTo>
                      <a:pt x="848" y="1124"/>
                    </a:moveTo>
                    <a:cubicBezTo>
                      <a:pt x="803" y="992"/>
                      <a:pt x="803" y="992"/>
                      <a:pt x="803" y="992"/>
                    </a:cubicBezTo>
                    <a:cubicBezTo>
                      <a:pt x="802" y="990"/>
                      <a:pt x="802" y="988"/>
                      <a:pt x="803" y="987"/>
                    </a:cubicBezTo>
                    <a:cubicBezTo>
                      <a:pt x="845" y="921"/>
                      <a:pt x="845" y="921"/>
                      <a:pt x="845" y="921"/>
                    </a:cubicBezTo>
                    <a:cubicBezTo>
                      <a:pt x="847" y="918"/>
                      <a:pt x="845" y="913"/>
                      <a:pt x="841" y="912"/>
                    </a:cubicBezTo>
                    <a:cubicBezTo>
                      <a:pt x="827" y="909"/>
                      <a:pt x="800" y="903"/>
                      <a:pt x="778" y="903"/>
                    </a:cubicBezTo>
                    <a:cubicBezTo>
                      <a:pt x="756" y="903"/>
                      <a:pt x="726" y="909"/>
                      <a:pt x="712" y="912"/>
                    </a:cubicBezTo>
                    <a:cubicBezTo>
                      <a:pt x="707" y="913"/>
                      <a:pt x="705" y="918"/>
                      <a:pt x="708" y="922"/>
                    </a:cubicBezTo>
                    <a:cubicBezTo>
                      <a:pt x="749" y="987"/>
                      <a:pt x="749" y="987"/>
                      <a:pt x="749" y="987"/>
                    </a:cubicBezTo>
                    <a:cubicBezTo>
                      <a:pt x="750" y="989"/>
                      <a:pt x="750" y="991"/>
                      <a:pt x="750" y="992"/>
                    </a:cubicBezTo>
                    <a:cubicBezTo>
                      <a:pt x="701" y="1124"/>
                      <a:pt x="701" y="1124"/>
                      <a:pt x="701" y="1124"/>
                    </a:cubicBezTo>
                    <a:cubicBezTo>
                      <a:pt x="700" y="1128"/>
                      <a:pt x="703" y="1132"/>
                      <a:pt x="707" y="1132"/>
                    </a:cubicBezTo>
                    <a:cubicBezTo>
                      <a:pt x="841" y="1132"/>
                      <a:pt x="841" y="1132"/>
                      <a:pt x="841" y="1132"/>
                    </a:cubicBezTo>
                    <a:cubicBezTo>
                      <a:pt x="846" y="1132"/>
                      <a:pt x="849" y="1128"/>
                      <a:pt x="848" y="1124"/>
                    </a:cubicBezTo>
                    <a:close/>
                    <a:moveTo>
                      <a:pt x="636" y="1693"/>
                    </a:moveTo>
                    <a:cubicBezTo>
                      <a:pt x="911" y="1693"/>
                      <a:pt x="911" y="1693"/>
                      <a:pt x="911" y="1693"/>
                    </a:cubicBezTo>
                    <a:cubicBezTo>
                      <a:pt x="917" y="1693"/>
                      <a:pt x="921" y="1689"/>
                      <a:pt x="921" y="1683"/>
                    </a:cubicBezTo>
                    <a:cubicBezTo>
                      <a:pt x="921" y="1580"/>
                      <a:pt x="921" y="1580"/>
                      <a:pt x="921" y="1580"/>
                    </a:cubicBezTo>
                    <a:cubicBezTo>
                      <a:pt x="921" y="1575"/>
                      <a:pt x="917" y="1570"/>
                      <a:pt x="911" y="1570"/>
                    </a:cubicBezTo>
                    <a:cubicBezTo>
                      <a:pt x="636" y="1570"/>
                      <a:pt x="636" y="1570"/>
                      <a:pt x="636" y="1570"/>
                    </a:cubicBezTo>
                    <a:cubicBezTo>
                      <a:pt x="630" y="1570"/>
                      <a:pt x="626" y="1575"/>
                      <a:pt x="626" y="1580"/>
                    </a:cubicBezTo>
                    <a:cubicBezTo>
                      <a:pt x="626" y="1683"/>
                      <a:pt x="626" y="1683"/>
                      <a:pt x="626" y="1683"/>
                    </a:cubicBezTo>
                    <a:cubicBezTo>
                      <a:pt x="626" y="1689"/>
                      <a:pt x="630" y="1693"/>
                      <a:pt x="636" y="1693"/>
                    </a:cubicBezTo>
                    <a:close/>
                    <a:moveTo>
                      <a:pt x="1267" y="1693"/>
                    </a:moveTo>
                    <a:cubicBezTo>
                      <a:pt x="1542" y="1693"/>
                      <a:pt x="1542" y="1693"/>
                      <a:pt x="1542" y="1693"/>
                    </a:cubicBezTo>
                    <a:cubicBezTo>
                      <a:pt x="1548" y="1693"/>
                      <a:pt x="1552" y="1689"/>
                      <a:pt x="1552" y="1683"/>
                    </a:cubicBezTo>
                    <a:cubicBezTo>
                      <a:pt x="1552" y="1580"/>
                      <a:pt x="1552" y="1580"/>
                      <a:pt x="1552" y="1580"/>
                    </a:cubicBezTo>
                    <a:cubicBezTo>
                      <a:pt x="1552" y="1575"/>
                      <a:pt x="1548" y="1570"/>
                      <a:pt x="1542" y="1570"/>
                    </a:cubicBezTo>
                    <a:cubicBezTo>
                      <a:pt x="1267" y="1570"/>
                      <a:pt x="1267" y="1570"/>
                      <a:pt x="1267" y="1570"/>
                    </a:cubicBezTo>
                    <a:cubicBezTo>
                      <a:pt x="1261" y="1570"/>
                      <a:pt x="1257" y="1575"/>
                      <a:pt x="1257" y="1580"/>
                    </a:cubicBezTo>
                    <a:cubicBezTo>
                      <a:pt x="1257" y="1683"/>
                      <a:pt x="1257" y="1683"/>
                      <a:pt x="1257" y="1683"/>
                    </a:cubicBezTo>
                    <a:cubicBezTo>
                      <a:pt x="1257" y="1689"/>
                      <a:pt x="1261" y="1693"/>
                      <a:pt x="1267" y="1693"/>
                    </a:cubicBezTo>
                    <a:close/>
                    <a:moveTo>
                      <a:pt x="10" y="1693"/>
                    </a:moveTo>
                    <a:cubicBezTo>
                      <a:pt x="285" y="1693"/>
                      <a:pt x="285" y="1693"/>
                      <a:pt x="285" y="1693"/>
                    </a:cubicBezTo>
                    <a:cubicBezTo>
                      <a:pt x="291" y="1693"/>
                      <a:pt x="295" y="1689"/>
                      <a:pt x="295" y="1683"/>
                    </a:cubicBezTo>
                    <a:cubicBezTo>
                      <a:pt x="295" y="1580"/>
                      <a:pt x="295" y="1580"/>
                      <a:pt x="295" y="1580"/>
                    </a:cubicBezTo>
                    <a:cubicBezTo>
                      <a:pt x="295" y="1575"/>
                      <a:pt x="291" y="1570"/>
                      <a:pt x="285" y="1570"/>
                    </a:cubicBezTo>
                    <a:cubicBezTo>
                      <a:pt x="10" y="1570"/>
                      <a:pt x="10" y="1570"/>
                      <a:pt x="10" y="1570"/>
                    </a:cubicBezTo>
                    <a:cubicBezTo>
                      <a:pt x="4" y="1570"/>
                      <a:pt x="0" y="1575"/>
                      <a:pt x="0" y="1580"/>
                    </a:cubicBezTo>
                    <a:cubicBezTo>
                      <a:pt x="0" y="1683"/>
                      <a:pt x="0" y="1683"/>
                      <a:pt x="0" y="1683"/>
                    </a:cubicBezTo>
                    <a:cubicBezTo>
                      <a:pt x="0" y="1689"/>
                      <a:pt x="4" y="1693"/>
                      <a:pt x="10" y="169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A5761825-B54E-4FE3-84C3-C3D05FA5B4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8781" y="3106674"/>
                <a:ext cx="1233297" cy="938784"/>
              </a:xfrm>
              <a:custGeom>
                <a:avLst/>
                <a:gdLst>
                  <a:gd name="T0" fmla="*/ 280 w 1728"/>
                  <a:gd name="T1" fmla="*/ 646 h 1314"/>
                  <a:gd name="T2" fmla="*/ 669 w 1728"/>
                  <a:gd name="T3" fmla="*/ 397 h 1314"/>
                  <a:gd name="T4" fmla="*/ 734 w 1728"/>
                  <a:gd name="T5" fmla="*/ 657 h 1314"/>
                  <a:gd name="T6" fmla="*/ 294 w 1728"/>
                  <a:gd name="T7" fmla="*/ 665 h 1314"/>
                  <a:gd name="T8" fmla="*/ 1448 w 1728"/>
                  <a:gd name="T9" fmla="*/ 646 h 1314"/>
                  <a:gd name="T10" fmla="*/ 1059 w 1728"/>
                  <a:gd name="T11" fmla="*/ 397 h 1314"/>
                  <a:gd name="T12" fmla="*/ 994 w 1728"/>
                  <a:gd name="T13" fmla="*/ 657 h 1314"/>
                  <a:gd name="T14" fmla="*/ 1434 w 1728"/>
                  <a:gd name="T15" fmla="*/ 665 h 1314"/>
                  <a:gd name="T16" fmla="*/ 693 w 1728"/>
                  <a:gd name="T17" fmla="*/ 282 h 1314"/>
                  <a:gd name="T18" fmla="*/ 703 w 1728"/>
                  <a:gd name="T19" fmla="*/ 361 h 1314"/>
                  <a:gd name="T20" fmla="*/ 747 w 1728"/>
                  <a:gd name="T21" fmla="*/ 406 h 1314"/>
                  <a:gd name="T22" fmla="*/ 864 w 1728"/>
                  <a:gd name="T23" fmla="*/ 365 h 1314"/>
                  <a:gd name="T24" fmla="*/ 981 w 1728"/>
                  <a:gd name="T25" fmla="*/ 406 h 1314"/>
                  <a:gd name="T26" fmla="*/ 1025 w 1728"/>
                  <a:gd name="T27" fmla="*/ 361 h 1314"/>
                  <a:gd name="T28" fmla="*/ 1035 w 1728"/>
                  <a:gd name="T29" fmla="*/ 282 h 1314"/>
                  <a:gd name="T30" fmla="*/ 1182 w 1728"/>
                  <a:gd name="T31" fmla="*/ 4 h 1314"/>
                  <a:gd name="T32" fmla="*/ 1127 w 1728"/>
                  <a:gd name="T33" fmla="*/ 27 h 1314"/>
                  <a:gd name="T34" fmla="*/ 1097 w 1728"/>
                  <a:gd name="T35" fmla="*/ 56 h 1314"/>
                  <a:gd name="T36" fmla="*/ 864 w 1728"/>
                  <a:gd name="T37" fmla="*/ 321 h 1314"/>
                  <a:gd name="T38" fmla="*/ 631 w 1728"/>
                  <a:gd name="T39" fmla="*/ 56 h 1314"/>
                  <a:gd name="T40" fmla="*/ 600 w 1728"/>
                  <a:gd name="T41" fmla="*/ 25 h 1314"/>
                  <a:gd name="T42" fmla="*/ 546 w 1728"/>
                  <a:gd name="T43" fmla="*/ 5 h 1314"/>
                  <a:gd name="T44" fmla="*/ 1728 w 1728"/>
                  <a:gd name="T45" fmla="*/ 1037 h 1314"/>
                  <a:gd name="T46" fmla="*/ 1706 w 1728"/>
                  <a:gd name="T47" fmla="*/ 1314 h 1314"/>
                  <a:gd name="T48" fmla="*/ 1257 w 1728"/>
                  <a:gd name="T49" fmla="*/ 1292 h 1314"/>
                  <a:gd name="T50" fmla="*/ 1279 w 1728"/>
                  <a:gd name="T51" fmla="*/ 1015 h 1314"/>
                  <a:gd name="T52" fmla="*/ 1471 w 1728"/>
                  <a:gd name="T53" fmla="*/ 883 h 1314"/>
                  <a:gd name="T54" fmla="*/ 884 w 1728"/>
                  <a:gd name="T55" fmla="*/ 1015 h 1314"/>
                  <a:gd name="T56" fmla="*/ 1097 w 1728"/>
                  <a:gd name="T57" fmla="*/ 1037 h 1314"/>
                  <a:gd name="T58" fmla="*/ 1075 w 1728"/>
                  <a:gd name="T59" fmla="*/ 1314 h 1314"/>
                  <a:gd name="T60" fmla="*/ 626 w 1728"/>
                  <a:gd name="T61" fmla="*/ 1292 h 1314"/>
                  <a:gd name="T62" fmla="*/ 648 w 1728"/>
                  <a:gd name="T63" fmla="*/ 1015 h 1314"/>
                  <a:gd name="T64" fmla="*/ 840 w 1728"/>
                  <a:gd name="T65" fmla="*/ 883 h 1314"/>
                  <a:gd name="T66" fmla="*/ 257 w 1728"/>
                  <a:gd name="T67" fmla="*/ 1015 h 1314"/>
                  <a:gd name="T68" fmla="*/ 471 w 1728"/>
                  <a:gd name="T69" fmla="*/ 1037 h 1314"/>
                  <a:gd name="T70" fmla="*/ 449 w 1728"/>
                  <a:gd name="T71" fmla="*/ 1314 h 1314"/>
                  <a:gd name="T72" fmla="*/ 0 w 1728"/>
                  <a:gd name="T73" fmla="*/ 1292 h 1314"/>
                  <a:gd name="T74" fmla="*/ 22 w 1728"/>
                  <a:gd name="T75" fmla="*/ 1015 h 1314"/>
                  <a:gd name="T76" fmla="*/ 213 w 1728"/>
                  <a:gd name="T77" fmla="*/ 861 h 1314"/>
                  <a:gd name="T78" fmla="*/ 840 w 1728"/>
                  <a:gd name="T79" fmla="*/ 839 h 1314"/>
                  <a:gd name="T80" fmla="*/ 884 w 1728"/>
                  <a:gd name="T81" fmla="*/ 709 h 1314"/>
                  <a:gd name="T82" fmla="*/ 1493 w 1728"/>
                  <a:gd name="T83" fmla="*/ 839 h 1314"/>
                  <a:gd name="T84" fmla="*/ 1515 w 1728"/>
                  <a:gd name="T85" fmla="*/ 1015 h 1314"/>
                  <a:gd name="T86" fmla="*/ 1728 w 1728"/>
                  <a:gd name="T87" fmla="*/ 1037 h 1314"/>
                  <a:gd name="T88" fmla="*/ 44 w 1728"/>
                  <a:gd name="T89" fmla="*/ 1270 h 1314"/>
                  <a:gd name="T90" fmla="*/ 427 w 1728"/>
                  <a:gd name="T91" fmla="*/ 1059 h 1314"/>
                  <a:gd name="T92" fmla="*/ 670 w 1728"/>
                  <a:gd name="T93" fmla="*/ 1059 h 1314"/>
                  <a:gd name="T94" fmla="*/ 1053 w 1728"/>
                  <a:gd name="T95" fmla="*/ 1270 h 1314"/>
                  <a:gd name="T96" fmla="*/ 670 w 1728"/>
                  <a:gd name="T97" fmla="*/ 1059 h 1314"/>
                  <a:gd name="T98" fmla="*/ 1301 w 1728"/>
                  <a:gd name="T99" fmla="*/ 1059 h 1314"/>
                  <a:gd name="T100" fmla="*/ 1684 w 1728"/>
                  <a:gd name="T101" fmla="*/ 1270 h 1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28" h="1314">
                    <a:moveTo>
                      <a:pt x="294" y="665"/>
                    </a:moveTo>
                    <a:cubicBezTo>
                      <a:pt x="284" y="665"/>
                      <a:pt x="277" y="655"/>
                      <a:pt x="280" y="646"/>
                    </a:cubicBezTo>
                    <a:cubicBezTo>
                      <a:pt x="298" y="598"/>
                      <a:pt x="350" y="472"/>
                      <a:pt x="422" y="440"/>
                    </a:cubicBezTo>
                    <a:cubicBezTo>
                      <a:pt x="501" y="403"/>
                      <a:pt x="640" y="398"/>
                      <a:pt x="669" y="397"/>
                    </a:cubicBezTo>
                    <a:cubicBezTo>
                      <a:pt x="672" y="397"/>
                      <a:pt x="674" y="399"/>
                      <a:pt x="675" y="402"/>
                    </a:cubicBezTo>
                    <a:cubicBezTo>
                      <a:pt x="734" y="657"/>
                      <a:pt x="734" y="657"/>
                      <a:pt x="734" y="657"/>
                    </a:cubicBezTo>
                    <a:cubicBezTo>
                      <a:pt x="735" y="661"/>
                      <a:pt x="732" y="665"/>
                      <a:pt x="728" y="665"/>
                    </a:cubicBezTo>
                    <a:lnTo>
                      <a:pt x="294" y="665"/>
                    </a:lnTo>
                    <a:close/>
                    <a:moveTo>
                      <a:pt x="1434" y="665"/>
                    </a:moveTo>
                    <a:cubicBezTo>
                      <a:pt x="1444" y="665"/>
                      <a:pt x="1451" y="655"/>
                      <a:pt x="1448" y="646"/>
                    </a:cubicBezTo>
                    <a:cubicBezTo>
                      <a:pt x="1430" y="598"/>
                      <a:pt x="1378" y="472"/>
                      <a:pt x="1306" y="440"/>
                    </a:cubicBezTo>
                    <a:cubicBezTo>
                      <a:pt x="1227" y="403"/>
                      <a:pt x="1088" y="398"/>
                      <a:pt x="1059" y="397"/>
                    </a:cubicBezTo>
                    <a:cubicBezTo>
                      <a:pt x="1056" y="397"/>
                      <a:pt x="1054" y="399"/>
                      <a:pt x="1053" y="402"/>
                    </a:cubicBezTo>
                    <a:cubicBezTo>
                      <a:pt x="994" y="657"/>
                      <a:pt x="994" y="657"/>
                      <a:pt x="994" y="657"/>
                    </a:cubicBezTo>
                    <a:cubicBezTo>
                      <a:pt x="993" y="661"/>
                      <a:pt x="996" y="665"/>
                      <a:pt x="1000" y="665"/>
                    </a:cubicBezTo>
                    <a:lnTo>
                      <a:pt x="1434" y="665"/>
                    </a:lnTo>
                    <a:close/>
                    <a:moveTo>
                      <a:pt x="593" y="79"/>
                    </a:moveTo>
                    <a:cubicBezTo>
                      <a:pt x="612" y="129"/>
                      <a:pt x="665" y="257"/>
                      <a:pt x="693" y="282"/>
                    </a:cubicBezTo>
                    <a:cubicBezTo>
                      <a:pt x="696" y="284"/>
                      <a:pt x="699" y="287"/>
                      <a:pt x="703" y="290"/>
                    </a:cubicBezTo>
                    <a:cubicBezTo>
                      <a:pt x="703" y="361"/>
                      <a:pt x="703" y="361"/>
                      <a:pt x="703" y="361"/>
                    </a:cubicBezTo>
                    <a:cubicBezTo>
                      <a:pt x="710" y="371"/>
                      <a:pt x="710" y="371"/>
                      <a:pt x="710" y="371"/>
                    </a:cubicBezTo>
                    <a:cubicBezTo>
                      <a:pt x="711" y="372"/>
                      <a:pt x="723" y="389"/>
                      <a:pt x="747" y="406"/>
                    </a:cubicBezTo>
                    <a:cubicBezTo>
                      <a:pt x="747" y="321"/>
                      <a:pt x="747" y="321"/>
                      <a:pt x="747" y="321"/>
                    </a:cubicBezTo>
                    <a:cubicBezTo>
                      <a:pt x="783" y="343"/>
                      <a:pt x="828" y="365"/>
                      <a:pt x="864" y="365"/>
                    </a:cubicBezTo>
                    <a:cubicBezTo>
                      <a:pt x="900" y="365"/>
                      <a:pt x="945" y="343"/>
                      <a:pt x="981" y="320"/>
                    </a:cubicBezTo>
                    <a:cubicBezTo>
                      <a:pt x="981" y="406"/>
                      <a:pt x="981" y="406"/>
                      <a:pt x="981" y="406"/>
                    </a:cubicBezTo>
                    <a:cubicBezTo>
                      <a:pt x="1005" y="389"/>
                      <a:pt x="1017" y="372"/>
                      <a:pt x="1018" y="371"/>
                    </a:cubicBezTo>
                    <a:cubicBezTo>
                      <a:pt x="1025" y="361"/>
                      <a:pt x="1025" y="361"/>
                      <a:pt x="1025" y="361"/>
                    </a:cubicBezTo>
                    <a:cubicBezTo>
                      <a:pt x="1025" y="290"/>
                      <a:pt x="1025" y="290"/>
                      <a:pt x="1025" y="290"/>
                    </a:cubicBezTo>
                    <a:cubicBezTo>
                      <a:pt x="1029" y="287"/>
                      <a:pt x="1032" y="284"/>
                      <a:pt x="1035" y="282"/>
                    </a:cubicBezTo>
                    <a:cubicBezTo>
                      <a:pt x="1063" y="257"/>
                      <a:pt x="1116" y="129"/>
                      <a:pt x="1135" y="79"/>
                    </a:cubicBezTo>
                    <a:cubicBezTo>
                      <a:pt x="1170" y="57"/>
                      <a:pt x="1179" y="20"/>
                      <a:pt x="1182" y="4"/>
                    </a:cubicBezTo>
                    <a:cubicBezTo>
                      <a:pt x="1182" y="3"/>
                      <a:pt x="1182" y="2"/>
                      <a:pt x="1182" y="1"/>
                    </a:cubicBezTo>
                    <a:cubicBezTo>
                      <a:pt x="1127" y="27"/>
                      <a:pt x="1127" y="27"/>
                      <a:pt x="1127" y="27"/>
                    </a:cubicBezTo>
                    <a:cubicBezTo>
                      <a:pt x="1122" y="34"/>
                      <a:pt x="1116" y="40"/>
                      <a:pt x="1107" y="44"/>
                    </a:cubicBezTo>
                    <a:cubicBezTo>
                      <a:pt x="1103" y="47"/>
                      <a:pt x="1099" y="51"/>
                      <a:pt x="1097" y="56"/>
                    </a:cubicBezTo>
                    <a:cubicBezTo>
                      <a:pt x="1065" y="138"/>
                      <a:pt x="1020" y="236"/>
                      <a:pt x="1006" y="249"/>
                    </a:cubicBezTo>
                    <a:cubicBezTo>
                      <a:pt x="978" y="273"/>
                      <a:pt x="903" y="321"/>
                      <a:pt x="864" y="321"/>
                    </a:cubicBezTo>
                    <a:cubicBezTo>
                      <a:pt x="824" y="321"/>
                      <a:pt x="750" y="273"/>
                      <a:pt x="722" y="249"/>
                    </a:cubicBezTo>
                    <a:cubicBezTo>
                      <a:pt x="707" y="236"/>
                      <a:pt x="663" y="138"/>
                      <a:pt x="631" y="56"/>
                    </a:cubicBezTo>
                    <a:cubicBezTo>
                      <a:pt x="629" y="51"/>
                      <a:pt x="625" y="47"/>
                      <a:pt x="620" y="44"/>
                    </a:cubicBezTo>
                    <a:cubicBezTo>
                      <a:pt x="611" y="39"/>
                      <a:pt x="604" y="33"/>
                      <a:pt x="600" y="25"/>
                    </a:cubicBezTo>
                    <a:cubicBezTo>
                      <a:pt x="546" y="0"/>
                      <a:pt x="546" y="0"/>
                      <a:pt x="546" y="0"/>
                    </a:cubicBezTo>
                    <a:cubicBezTo>
                      <a:pt x="546" y="2"/>
                      <a:pt x="546" y="4"/>
                      <a:pt x="546" y="5"/>
                    </a:cubicBezTo>
                    <a:cubicBezTo>
                      <a:pt x="550" y="25"/>
                      <a:pt x="560" y="59"/>
                      <a:pt x="593" y="79"/>
                    </a:cubicBezTo>
                    <a:close/>
                    <a:moveTo>
                      <a:pt x="1728" y="1037"/>
                    </a:moveTo>
                    <a:cubicBezTo>
                      <a:pt x="1728" y="1292"/>
                      <a:pt x="1728" y="1292"/>
                      <a:pt x="1728" y="1292"/>
                    </a:cubicBezTo>
                    <a:cubicBezTo>
                      <a:pt x="1728" y="1304"/>
                      <a:pt x="1718" y="1314"/>
                      <a:pt x="1706" y="1314"/>
                    </a:cubicBezTo>
                    <a:cubicBezTo>
                      <a:pt x="1279" y="1314"/>
                      <a:pt x="1279" y="1314"/>
                      <a:pt x="1279" y="1314"/>
                    </a:cubicBezTo>
                    <a:cubicBezTo>
                      <a:pt x="1267" y="1314"/>
                      <a:pt x="1257" y="1304"/>
                      <a:pt x="1257" y="1292"/>
                    </a:cubicBezTo>
                    <a:cubicBezTo>
                      <a:pt x="1257" y="1037"/>
                      <a:pt x="1257" y="1037"/>
                      <a:pt x="1257" y="1037"/>
                    </a:cubicBezTo>
                    <a:cubicBezTo>
                      <a:pt x="1257" y="1025"/>
                      <a:pt x="1267" y="1015"/>
                      <a:pt x="1279" y="1015"/>
                    </a:cubicBezTo>
                    <a:cubicBezTo>
                      <a:pt x="1471" y="1015"/>
                      <a:pt x="1471" y="1015"/>
                      <a:pt x="1471" y="1015"/>
                    </a:cubicBezTo>
                    <a:cubicBezTo>
                      <a:pt x="1471" y="883"/>
                      <a:pt x="1471" y="883"/>
                      <a:pt x="1471" y="883"/>
                    </a:cubicBezTo>
                    <a:cubicBezTo>
                      <a:pt x="884" y="883"/>
                      <a:pt x="884" y="883"/>
                      <a:pt x="884" y="883"/>
                    </a:cubicBezTo>
                    <a:cubicBezTo>
                      <a:pt x="884" y="1015"/>
                      <a:pt x="884" y="1015"/>
                      <a:pt x="884" y="1015"/>
                    </a:cubicBezTo>
                    <a:cubicBezTo>
                      <a:pt x="1075" y="1015"/>
                      <a:pt x="1075" y="1015"/>
                      <a:pt x="1075" y="1015"/>
                    </a:cubicBezTo>
                    <a:cubicBezTo>
                      <a:pt x="1087" y="1015"/>
                      <a:pt x="1097" y="1025"/>
                      <a:pt x="1097" y="1037"/>
                    </a:cubicBezTo>
                    <a:cubicBezTo>
                      <a:pt x="1097" y="1292"/>
                      <a:pt x="1097" y="1292"/>
                      <a:pt x="1097" y="1292"/>
                    </a:cubicBezTo>
                    <a:cubicBezTo>
                      <a:pt x="1097" y="1304"/>
                      <a:pt x="1087" y="1314"/>
                      <a:pt x="1075" y="1314"/>
                    </a:cubicBezTo>
                    <a:cubicBezTo>
                      <a:pt x="648" y="1314"/>
                      <a:pt x="648" y="1314"/>
                      <a:pt x="648" y="1314"/>
                    </a:cubicBezTo>
                    <a:cubicBezTo>
                      <a:pt x="636" y="1314"/>
                      <a:pt x="626" y="1304"/>
                      <a:pt x="626" y="1292"/>
                    </a:cubicBezTo>
                    <a:cubicBezTo>
                      <a:pt x="626" y="1037"/>
                      <a:pt x="626" y="1037"/>
                      <a:pt x="626" y="1037"/>
                    </a:cubicBezTo>
                    <a:cubicBezTo>
                      <a:pt x="626" y="1025"/>
                      <a:pt x="636" y="1015"/>
                      <a:pt x="648" y="1015"/>
                    </a:cubicBezTo>
                    <a:cubicBezTo>
                      <a:pt x="840" y="1015"/>
                      <a:pt x="840" y="1015"/>
                      <a:pt x="840" y="1015"/>
                    </a:cubicBezTo>
                    <a:cubicBezTo>
                      <a:pt x="840" y="883"/>
                      <a:pt x="840" y="883"/>
                      <a:pt x="840" y="883"/>
                    </a:cubicBezTo>
                    <a:cubicBezTo>
                      <a:pt x="257" y="883"/>
                      <a:pt x="257" y="883"/>
                      <a:pt x="257" y="883"/>
                    </a:cubicBezTo>
                    <a:cubicBezTo>
                      <a:pt x="257" y="1015"/>
                      <a:pt x="257" y="1015"/>
                      <a:pt x="257" y="1015"/>
                    </a:cubicBezTo>
                    <a:cubicBezTo>
                      <a:pt x="449" y="1015"/>
                      <a:pt x="449" y="1015"/>
                      <a:pt x="449" y="1015"/>
                    </a:cubicBezTo>
                    <a:cubicBezTo>
                      <a:pt x="461" y="1015"/>
                      <a:pt x="471" y="1025"/>
                      <a:pt x="471" y="1037"/>
                    </a:cubicBezTo>
                    <a:cubicBezTo>
                      <a:pt x="471" y="1292"/>
                      <a:pt x="471" y="1292"/>
                      <a:pt x="471" y="1292"/>
                    </a:cubicBezTo>
                    <a:cubicBezTo>
                      <a:pt x="471" y="1304"/>
                      <a:pt x="461" y="1314"/>
                      <a:pt x="449" y="1314"/>
                    </a:cubicBezTo>
                    <a:cubicBezTo>
                      <a:pt x="22" y="1314"/>
                      <a:pt x="22" y="1314"/>
                      <a:pt x="22" y="1314"/>
                    </a:cubicBezTo>
                    <a:cubicBezTo>
                      <a:pt x="10" y="1314"/>
                      <a:pt x="0" y="1304"/>
                      <a:pt x="0" y="1292"/>
                    </a:cubicBezTo>
                    <a:cubicBezTo>
                      <a:pt x="0" y="1037"/>
                      <a:pt x="0" y="1037"/>
                      <a:pt x="0" y="1037"/>
                    </a:cubicBezTo>
                    <a:cubicBezTo>
                      <a:pt x="0" y="1025"/>
                      <a:pt x="10" y="1015"/>
                      <a:pt x="22" y="1015"/>
                    </a:cubicBezTo>
                    <a:cubicBezTo>
                      <a:pt x="213" y="1015"/>
                      <a:pt x="213" y="1015"/>
                      <a:pt x="213" y="1015"/>
                    </a:cubicBezTo>
                    <a:cubicBezTo>
                      <a:pt x="213" y="861"/>
                      <a:pt x="213" y="861"/>
                      <a:pt x="213" y="861"/>
                    </a:cubicBezTo>
                    <a:cubicBezTo>
                      <a:pt x="213" y="849"/>
                      <a:pt x="223" y="839"/>
                      <a:pt x="235" y="839"/>
                    </a:cubicBezTo>
                    <a:cubicBezTo>
                      <a:pt x="840" y="839"/>
                      <a:pt x="840" y="839"/>
                      <a:pt x="840" y="839"/>
                    </a:cubicBezTo>
                    <a:cubicBezTo>
                      <a:pt x="840" y="709"/>
                      <a:pt x="840" y="709"/>
                      <a:pt x="840" y="709"/>
                    </a:cubicBezTo>
                    <a:cubicBezTo>
                      <a:pt x="884" y="709"/>
                      <a:pt x="884" y="709"/>
                      <a:pt x="884" y="709"/>
                    </a:cubicBezTo>
                    <a:cubicBezTo>
                      <a:pt x="884" y="839"/>
                      <a:pt x="884" y="839"/>
                      <a:pt x="884" y="839"/>
                    </a:cubicBezTo>
                    <a:cubicBezTo>
                      <a:pt x="1493" y="839"/>
                      <a:pt x="1493" y="839"/>
                      <a:pt x="1493" y="839"/>
                    </a:cubicBezTo>
                    <a:cubicBezTo>
                      <a:pt x="1505" y="839"/>
                      <a:pt x="1515" y="849"/>
                      <a:pt x="1515" y="861"/>
                    </a:cubicBezTo>
                    <a:cubicBezTo>
                      <a:pt x="1515" y="1015"/>
                      <a:pt x="1515" y="1015"/>
                      <a:pt x="1515" y="1015"/>
                    </a:cubicBezTo>
                    <a:cubicBezTo>
                      <a:pt x="1706" y="1015"/>
                      <a:pt x="1706" y="1015"/>
                      <a:pt x="1706" y="1015"/>
                    </a:cubicBezTo>
                    <a:cubicBezTo>
                      <a:pt x="1718" y="1015"/>
                      <a:pt x="1728" y="1025"/>
                      <a:pt x="1728" y="1037"/>
                    </a:cubicBezTo>
                    <a:close/>
                    <a:moveTo>
                      <a:pt x="44" y="1059"/>
                    </a:moveTo>
                    <a:cubicBezTo>
                      <a:pt x="44" y="1270"/>
                      <a:pt x="44" y="1270"/>
                      <a:pt x="44" y="1270"/>
                    </a:cubicBezTo>
                    <a:cubicBezTo>
                      <a:pt x="427" y="1270"/>
                      <a:pt x="427" y="1270"/>
                      <a:pt x="427" y="1270"/>
                    </a:cubicBezTo>
                    <a:cubicBezTo>
                      <a:pt x="427" y="1059"/>
                      <a:pt x="427" y="1059"/>
                      <a:pt x="427" y="1059"/>
                    </a:cubicBezTo>
                    <a:lnTo>
                      <a:pt x="44" y="1059"/>
                    </a:lnTo>
                    <a:close/>
                    <a:moveTo>
                      <a:pt x="670" y="1059"/>
                    </a:moveTo>
                    <a:cubicBezTo>
                      <a:pt x="670" y="1270"/>
                      <a:pt x="670" y="1270"/>
                      <a:pt x="670" y="1270"/>
                    </a:cubicBezTo>
                    <a:cubicBezTo>
                      <a:pt x="1053" y="1270"/>
                      <a:pt x="1053" y="1270"/>
                      <a:pt x="1053" y="1270"/>
                    </a:cubicBezTo>
                    <a:cubicBezTo>
                      <a:pt x="1053" y="1059"/>
                      <a:pt x="1053" y="1059"/>
                      <a:pt x="1053" y="1059"/>
                    </a:cubicBezTo>
                    <a:lnTo>
                      <a:pt x="670" y="1059"/>
                    </a:lnTo>
                    <a:close/>
                    <a:moveTo>
                      <a:pt x="1684" y="1059"/>
                    </a:moveTo>
                    <a:cubicBezTo>
                      <a:pt x="1301" y="1059"/>
                      <a:pt x="1301" y="1059"/>
                      <a:pt x="1301" y="1059"/>
                    </a:cubicBezTo>
                    <a:cubicBezTo>
                      <a:pt x="1301" y="1270"/>
                      <a:pt x="1301" y="1270"/>
                      <a:pt x="1301" y="1270"/>
                    </a:cubicBezTo>
                    <a:cubicBezTo>
                      <a:pt x="1684" y="1270"/>
                      <a:pt x="1684" y="1270"/>
                      <a:pt x="1684" y="1270"/>
                    </a:cubicBezTo>
                    <a:lnTo>
                      <a:pt x="1684" y="105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8" name="Group 57"/>
          <p:cNvGrpSpPr>
            <a:grpSpLocks noChangeAspect="1"/>
          </p:cNvGrpSpPr>
          <p:nvPr/>
        </p:nvGrpSpPr>
        <p:grpSpPr>
          <a:xfrm>
            <a:off x="6312918" y="5130763"/>
            <a:ext cx="1096264" cy="1097280"/>
            <a:chOff x="5273801" y="2606040"/>
            <a:chExt cx="1644396" cy="1645920"/>
          </a:xfrm>
        </p:grpSpPr>
        <p:sp>
          <p:nvSpPr>
            <p:cNvPr id="59" name="AutoShape 9">
              <a:extLst>
                <a:ext uri="{FF2B5EF4-FFF2-40B4-BE49-F238E27FC236}">
                  <a16:creationId xmlns:a16="http://schemas.microsoft.com/office/drawing/2014/main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5339333" y="3067431"/>
              <a:ext cx="1509522" cy="930021"/>
              <a:chOff x="5339333" y="3067431"/>
              <a:chExt cx="1509522" cy="930021"/>
            </a:xfrm>
          </p:grpSpPr>
          <p:sp>
            <p:nvSpPr>
              <p:cNvPr id="61" name="Freeform 11">
                <a:extLst>
                  <a:ext uri="{FF2B5EF4-FFF2-40B4-BE49-F238E27FC236}">
                    <a16:creationId xmlns:a16="http://schemas.microsoft.com/office/drawing/2014/main" id="{BF86BFAF-8981-4474-850E-2A9237D57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9333" y="3067431"/>
                <a:ext cx="1509522" cy="930021"/>
              </a:xfrm>
              <a:custGeom>
                <a:avLst/>
                <a:gdLst>
                  <a:gd name="T0" fmla="*/ 154 w 2115"/>
                  <a:gd name="T1" fmla="*/ 956 h 1302"/>
                  <a:gd name="T2" fmla="*/ 144 w 2115"/>
                  <a:gd name="T3" fmla="*/ 334 h 1302"/>
                  <a:gd name="T4" fmla="*/ 573 w 2115"/>
                  <a:gd name="T5" fmla="*/ 324 h 1302"/>
                  <a:gd name="T6" fmla="*/ 573 w 2115"/>
                  <a:gd name="T7" fmla="*/ 1059 h 1302"/>
                  <a:gd name="T8" fmla="*/ 44 w 2115"/>
                  <a:gd name="T9" fmla="*/ 220 h 1302"/>
                  <a:gd name="T10" fmla="*/ 573 w 2115"/>
                  <a:gd name="T11" fmla="*/ 180 h 1302"/>
                  <a:gd name="T12" fmla="*/ 22 w 2115"/>
                  <a:gd name="T13" fmla="*/ 176 h 1302"/>
                  <a:gd name="T14" fmla="*/ 0 w 2115"/>
                  <a:gd name="T15" fmla="*/ 1081 h 1302"/>
                  <a:gd name="T16" fmla="*/ 573 w 2115"/>
                  <a:gd name="T17" fmla="*/ 1103 h 1302"/>
                  <a:gd name="T18" fmla="*/ 660 w 2115"/>
                  <a:gd name="T19" fmla="*/ 89 h 1302"/>
                  <a:gd name="T20" fmla="*/ 94 w 2115"/>
                  <a:gd name="T21" fmla="*/ 111 h 1302"/>
                  <a:gd name="T22" fmla="*/ 618 w 2115"/>
                  <a:gd name="T23" fmla="*/ 133 h 1302"/>
                  <a:gd name="T24" fmla="*/ 745 w 2115"/>
                  <a:gd name="T25" fmla="*/ 0 h 1302"/>
                  <a:gd name="T26" fmla="*/ 179 w 2115"/>
                  <a:gd name="T27" fmla="*/ 22 h 1302"/>
                  <a:gd name="T28" fmla="*/ 703 w 2115"/>
                  <a:gd name="T29" fmla="*/ 44 h 1302"/>
                  <a:gd name="T30" fmla="*/ 1882 w 2115"/>
                  <a:gd name="T31" fmla="*/ 948 h 1302"/>
                  <a:gd name="T32" fmla="*/ 1760 w 2115"/>
                  <a:gd name="T33" fmla="*/ 1286 h 1302"/>
                  <a:gd name="T34" fmla="*/ 1452 w 2115"/>
                  <a:gd name="T35" fmla="*/ 1286 h 1302"/>
                  <a:gd name="T36" fmla="*/ 1329 w 2115"/>
                  <a:gd name="T37" fmla="*/ 1168 h 1302"/>
                  <a:gd name="T38" fmla="*/ 1452 w 2115"/>
                  <a:gd name="T39" fmla="*/ 830 h 1302"/>
                  <a:gd name="T40" fmla="*/ 1760 w 2115"/>
                  <a:gd name="T41" fmla="*/ 830 h 1302"/>
                  <a:gd name="T42" fmla="*/ 1882 w 2115"/>
                  <a:gd name="T43" fmla="*/ 948 h 1302"/>
                  <a:gd name="T44" fmla="*/ 1750 w 2115"/>
                  <a:gd name="T45" fmla="*/ 873 h 1302"/>
                  <a:gd name="T46" fmla="*/ 1462 w 2115"/>
                  <a:gd name="T47" fmla="*/ 873 h 1302"/>
                  <a:gd name="T48" fmla="*/ 1373 w 2115"/>
                  <a:gd name="T49" fmla="*/ 1168 h 1302"/>
                  <a:gd name="T50" fmla="*/ 1606 w 2115"/>
                  <a:gd name="T51" fmla="*/ 1258 h 1302"/>
                  <a:gd name="T52" fmla="*/ 1838 w 2115"/>
                  <a:gd name="T53" fmla="*/ 1168 h 1302"/>
                  <a:gd name="T54" fmla="*/ 1728 w 2115"/>
                  <a:gd name="T55" fmla="*/ 325 h 1302"/>
                  <a:gd name="T56" fmla="*/ 1772 w 2115"/>
                  <a:gd name="T57" fmla="*/ 198 h 1302"/>
                  <a:gd name="T58" fmla="*/ 1246 w 2115"/>
                  <a:gd name="T59" fmla="*/ 176 h 1302"/>
                  <a:gd name="T60" fmla="*/ 1209 w 2115"/>
                  <a:gd name="T61" fmla="*/ 220 h 1302"/>
                  <a:gd name="T62" fmla="*/ 1728 w 2115"/>
                  <a:gd name="T63" fmla="*/ 325 h 1302"/>
                  <a:gd name="T64" fmla="*/ 1838 w 2115"/>
                  <a:gd name="T65" fmla="*/ 318 h 1302"/>
                  <a:gd name="T66" fmla="*/ 1866 w 2115"/>
                  <a:gd name="T67" fmla="*/ 111 h 1302"/>
                  <a:gd name="T68" fmla="*/ 1330 w 2115"/>
                  <a:gd name="T69" fmla="*/ 89 h 1302"/>
                  <a:gd name="T70" fmla="*/ 1822 w 2115"/>
                  <a:gd name="T71" fmla="*/ 133 h 1302"/>
                  <a:gd name="T72" fmla="*/ 1907 w 2115"/>
                  <a:gd name="T73" fmla="*/ 321 h 1302"/>
                  <a:gd name="T74" fmla="*/ 1951 w 2115"/>
                  <a:gd name="T75" fmla="*/ 22 h 1302"/>
                  <a:gd name="T76" fmla="*/ 1415 w 2115"/>
                  <a:gd name="T77" fmla="*/ 0 h 1302"/>
                  <a:gd name="T78" fmla="*/ 1907 w 2115"/>
                  <a:gd name="T79" fmla="*/ 44 h 1302"/>
                  <a:gd name="T80" fmla="*/ 1285 w 2115"/>
                  <a:gd name="T81" fmla="*/ 1059 h 1302"/>
                  <a:gd name="T82" fmla="*/ 1209 w 2115"/>
                  <a:gd name="T83" fmla="*/ 1103 h 1302"/>
                  <a:gd name="T84" fmla="*/ 1285 w 2115"/>
                  <a:gd name="T85" fmla="*/ 1059 h 1302"/>
                  <a:gd name="T86" fmla="*/ 1441 w 2115"/>
                  <a:gd name="T87" fmla="*/ 787 h 1302"/>
                  <a:gd name="T88" fmla="*/ 1518 w 2115"/>
                  <a:gd name="T89" fmla="*/ 496 h 1302"/>
                  <a:gd name="T90" fmla="*/ 1629 w 2115"/>
                  <a:gd name="T91" fmla="*/ 334 h 1302"/>
                  <a:gd name="T92" fmla="*/ 1209 w 2115"/>
                  <a:gd name="T93" fmla="*/ 324 h 1302"/>
                  <a:gd name="T94" fmla="*/ 1285 w 2115"/>
                  <a:gd name="T95" fmla="*/ 956 h 1302"/>
                  <a:gd name="T96" fmla="*/ 2057 w 2115"/>
                  <a:gd name="T97" fmla="*/ 403 h 1302"/>
                  <a:gd name="T98" fmla="*/ 1838 w 2115"/>
                  <a:gd name="T99" fmla="*/ 362 h 1302"/>
                  <a:gd name="T100" fmla="*/ 1562 w 2115"/>
                  <a:gd name="T101" fmla="*/ 496 h 1302"/>
                  <a:gd name="T102" fmla="*/ 1606 w 2115"/>
                  <a:gd name="T103" fmla="*/ 770 h 1302"/>
                  <a:gd name="T104" fmla="*/ 1606 w 2115"/>
                  <a:gd name="T105" fmla="*/ 496 h 1302"/>
                  <a:gd name="T106" fmla="*/ 1838 w 2115"/>
                  <a:gd name="T107" fmla="*/ 406 h 1302"/>
                  <a:gd name="T108" fmla="*/ 2071 w 2115"/>
                  <a:gd name="T109" fmla="*/ 496 h 1302"/>
                  <a:gd name="T110" fmla="*/ 1982 w 2115"/>
                  <a:gd name="T111" fmla="*/ 1130 h 1302"/>
                  <a:gd name="T112" fmla="*/ 1926 w 2115"/>
                  <a:gd name="T113" fmla="*/ 1168 h 1302"/>
                  <a:gd name="T114" fmla="*/ 1992 w 2115"/>
                  <a:gd name="T115" fmla="*/ 1173 h 1302"/>
                  <a:gd name="T116" fmla="*/ 2115 w 2115"/>
                  <a:gd name="T117" fmla="*/ 496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15" h="1302">
                    <a:moveTo>
                      <a:pt x="573" y="956"/>
                    </a:moveTo>
                    <a:cubicBezTo>
                      <a:pt x="154" y="956"/>
                      <a:pt x="154" y="956"/>
                      <a:pt x="154" y="956"/>
                    </a:cubicBezTo>
                    <a:cubicBezTo>
                      <a:pt x="148" y="956"/>
                      <a:pt x="144" y="951"/>
                      <a:pt x="144" y="946"/>
                    </a:cubicBezTo>
                    <a:cubicBezTo>
                      <a:pt x="144" y="334"/>
                      <a:pt x="144" y="334"/>
                      <a:pt x="144" y="334"/>
                    </a:cubicBezTo>
                    <a:cubicBezTo>
                      <a:pt x="144" y="328"/>
                      <a:pt x="148" y="324"/>
                      <a:pt x="15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lnTo>
                      <a:pt x="573" y="956"/>
                    </a:lnTo>
                    <a:close/>
                    <a:moveTo>
                      <a:pt x="573" y="1059"/>
                    </a:moveTo>
                    <a:cubicBezTo>
                      <a:pt x="44" y="1059"/>
                      <a:pt x="44" y="1059"/>
                      <a:pt x="44" y="1059"/>
                    </a:cubicBezTo>
                    <a:cubicBezTo>
                      <a:pt x="44" y="220"/>
                      <a:pt x="44" y="220"/>
                      <a:pt x="44" y="220"/>
                    </a:cubicBezTo>
                    <a:cubicBezTo>
                      <a:pt x="573" y="220"/>
                      <a:pt x="573" y="220"/>
                      <a:pt x="573" y="220"/>
                    </a:cubicBezTo>
                    <a:cubicBezTo>
                      <a:pt x="573" y="180"/>
                      <a:pt x="573" y="180"/>
                      <a:pt x="573" y="180"/>
                    </a:cubicBezTo>
                    <a:cubicBezTo>
                      <a:pt x="576" y="176"/>
                      <a:pt x="576" y="176"/>
                      <a:pt x="576" y="176"/>
                    </a:cubicBezTo>
                    <a:cubicBezTo>
                      <a:pt x="22" y="176"/>
                      <a:pt x="22" y="176"/>
                      <a:pt x="22" y="176"/>
                    </a:cubicBezTo>
                    <a:cubicBezTo>
                      <a:pt x="10" y="176"/>
                      <a:pt x="0" y="186"/>
                      <a:pt x="0" y="198"/>
                    </a:cubicBezTo>
                    <a:cubicBezTo>
                      <a:pt x="0" y="1081"/>
                      <a:pt x="0" y="1081"/>
                      <a:pt x="0" y="1081"/>
                    </a:cubicBezTo>
                    <a:cubicBezTo>
                      <a:pt x="0" y="1093"/>
                      <a:pt x="10" y="1103"/>
                      <a:pt x="22" y="1103"/>
                    </a:cubicBezTo>
                    <a:cubicBezTo>
                      <a:pt x="573" y="1103"/>
                      <a:pt x="573" y="1103"/>
                      <a:pt x="573" y="1103"/>
                    </a:cubicBezTo>
                    <a:lnTo>
                      <a:pt x="573" y="1059"/>
                    </a:lnTo>
                    <a:close/>
                    <a:moveTo>
                      <a:pt x="660" y="89"/>
                    </a:moveTo>
                    <a:cubicBezTo>
                      <a:pt x="116" y="89"/>
                      <a:pt x="116" y="89"/>
                      <a:pt x="116" y="89"/>
                    </a:cubicBezTo>
                    <a:cubicBezTo>
                      <a:pt x="104" y="89"/>
                      <a:pt x="94" y="99"/>
                      <a:pt x="94" y="111"/>
                    </a:cubicBezTo>
                    <a:cubicBezTo>
                      <a:pt x="94" y="123"/>
                      <a:pt x="104" y="133"/>
                      <a:pt x="116" y="133"/>
                    </a:cubicBezTo>
                    <a:cubicBezTo>
                      <a:pt x="618" y="133"/>
                      <a:pt x="618" y="133"/>
                      <a:pt x="618" y="133"/>
                    </a:cubicBezTo>
                    <a:lnTo>
                      <a:pt x="660" y="89"/>
                    </a:lnTo>
                    <a:close/>
                    <a:moveTo>
                      <a:pt x="745" y="0"/>
                    </a:moveTo>
                    <a:cubicBezTo>
                      <a:pt x="201" y="0"/>
                      <a:pt x="201" y="0"/>
                      <a:pt x="201" y="0"/>
                    </a:cubicBezTo>
                    <a:cubicBezTo>
                      <a:pt x="189" y="0"/>
                      <a:pt x="179" y="10"/>
                      <a:pt x="179" y="22"/>
                    </a:cubicBezTo>
                    <a:cubicBezTo>
                      <a:pt x="179" y="35"/>
                      <a:pt x="189" y="44"/>
                      <a:pt x="201" y="44"/>
                    </a:cubicBezTo>
                    <a:cubicBezTo>
                      <a:pt x="703" y="44"/>
                      <a:pt x="703" y="44"/>
                      <a:pt x="703" y="44"/>
                    </a:cubicBezTo>
                    <a:lnTo>
                      <a:pt x="745" y="0"/>
                    </a:lnTo>
                    <a:close/>
                    <a:moveTo>
                      <a:pt x="1882" y="948"/>
                    </a:moveTo>
                    <a:cubicBezTo>
                      <a:pt x="1882" y="1168"/>
                      <a:pt x="1882" y="1168"/>
                      <a:pt x="1882" y="1168"/>
                    </a:cubicBezTo>
                    <a:cubicBezTo>
                      <a:pt x="1882" y="1208"/>
                      <a:pt x="1861" y="1261"/>
                      <a:pt x="1760" y="1286"/>
                    </a:cubicBezTo>
                    <a:cubicBezTo>
                      <a:pt x="1718" y="1296"/>
                      <a:pt x="1663" y="1302"/>
                      <a:pt x="1606" y="1302"/>
                    </a:cubicBezTo>
                    <a:cubicBezTo>
                      <a:pt x="1549" y="1302"/>
                      <a:pt x="1494" y="1296"/>
                      <a:pt x="1452" y="1286"/>
                    </a:cubicBezTo>
                    <a:cubicBezTo>
                      <a:pt x="1439" y="1283"/>
                      <a:pt x="1412" y="1276"/>
                      <a:pt x="1387" y="1262"/>
                    </a:cubicBezTo>
                    <a:cubicBezTo>
                      <a:pt x="1350" y="1240"/>
                      <a:pt x="1329" y="1207"/>
                      <a:pt x="1329" y="1168"/>
                    </a:cubicBezTo>
                    <a:cubicBezTo>
                      <a:pt x="1329" y="948"/>
                      <a:pt x="1329" y="948"/>
                      <a:pt x="1329" y="948"/>
                    </a:cubicBezTo>
                    <a:cubicBezTo>
                      <a:pt x="1329" y="908"/>
                      <a:pt x="1350" y="855"/>
                      <a:pt x="1452" y="830"/>
                    </a:cubicBezTo>
                    <a:cubicBezTo>
                      <a:pt x="1494" y="820"/>
                      <a:pt x="1549" y="814"/>
                      <a:pt x="1606" y="814"/>
                    </a:cubicBezTo>
                    <a:cubicBezTo>
                      <a:pt x="1663" y="814"/>
                      <a:pt x="1718" y="820"/>
                      <a:pt x="1760" y="830"/>
                    </a:cubicBezTo>
                    <a:cubicBezTo>
                      <a:pt x="1773" y="833"/>
                      <a:pt x="1799" y="840"/>
                      <a:pt x="1824" y="854"/>
                    </a:cubicBezTo>
                    <a:cubicBezTo>
                      <a:pt x="1862" y="876"/>
                      <a:pt x="1882" y="910"/>
                      <a:pt x="1882" y="948"/>
                    </a:cubicBezTo>
                    <a:close/>
                    <a:moveTo>
                      <a:pt x="1838" y="948"/>
                    </a:moveTo>
                    <a:cubicBezTo>
                      <a:pt x="1838" y="894"/>
                      <a:pt x="1771" y="878"/>
                      <a:pt x="1750" y="873"/>
                    </a:cubicBezTo>
                    <a:cubicBezTo>
                      <a:pt x="1711" y="863"/>
                      <a:pt x="1660" y="858"/>
                      <a:pt x="1606" y="858"/>
                    </a:cubicBezTo>
                    <a:cubicBezTo>
                      <a:pt x="1552" y="858"/>
                      <a:pt x="1501" y="863"/>
                      <a:pt x="1462" y="873"/>
                    </a:cubicBezTo>
                    <a:cubicBezTo>
                      <a:pt x="1440" y="878"/>
                      <a:pt x="1373" y="894"/>
                      <a:pt x="1373" y="948"/>
                    </a:cubicBezTo>
                    <a:cubicBezTo>
                      <a:pt x="1373" y="1168"/>
                      <a:pt x="1373" y="1168"/>
                      <a:pt x="1373" y="1168"/>
                    </a:cubicBezTo>
                    <a:cubicBezTo>
                      <a:pt x="1373" y="1222"/>
                      <a:pt x="1440" y="1238"/>
                      <a:pt x="1462" y="1243"/>
                    </a:cubicBezTo>
                    <a:cubicBezTo>
                      <a:pt x="1501" y="1253"/>
                      <a:pt x="1552" y="1258"/>
                      <a:pt x="1606" y="1258"/>
                    </a:cubicBezTo>
                    <a:cubicBezTo>
                      <a:pt x="1660" y="1258"/>
                      <a:pt x="1711" y="1253"/>
                      <a:pt x="1750" y="1243"/>
                    </a:cubicBezTo>
                    <a:cubicBezTo>
                      <a:pt x="1771" y="1238"/>
                      <a:pt x="1838" y="1222"/>
                      <a:pt x="1838" y="1168"/>
                    </a:cubicBezTo>
                    <a:lnTo>
                      <a:pt x="1838" y="948"/>
                    </a:lnTo>
                    <a:close/>
                    <a:moveTo>
                      <a:pt x="1728" y="325"/>
                    </a:moveTo>
                    <a:cubicBezTo>
                      <a:pt x="1743" y="324"/>
                      <a:pt x="1757" y="322"/>
                      <a:pt x="1772" y="321"/>
                    </a:cubicBezTo>
                    <a:cubicBezTo>
                      <a:pt x="1772" y="198"/>
                      <a:pt x="1772" y="198"/>
                      <a:pt x="1772" y="198"/>
                    </a:cubicBezTo>
                    <a:cubicBezTo>
                      <a:pt x="1772" y="186"/>
                      <a:pt x="1763" y="176"/>
                      <a:pt x="1750" y="176"/>
                    </a:cubicBezTo>
                    <a:cubicBezTo>
                      <a:pt x="1246" y="176"/>
                      <a:pt x="1246" y="176"/>
                      <a:pt x="1246" y="176"/>
                    </a:cubicBezTo>
                    <a:cubicBezTo>
                      <a:pt x="1209" y="215"/>
                      <a:pt x="1209" y="215"/>
                      <a:pt x="1209" y="215"/>
                    </a:cubicBezTo>
                    <a:cubicBezTo>
                      <a:pt x="1209" y="220"/>
                      <a:pt x="1209" y="220"/>
                      <a:pt x="1209" y="220"/>
                    </a:cubicBezTo>
                    <a:cubicBezTo>
                      <a:pt x="1728" y="220"/>
                      <a:pt x="1728" y="220"/>
                      <a:pt x="1728" y="220"/>
                    </a:cubicBezTo>
                    <a:lnTo>
                      <a:pt x="1728" y="325"/>
                    </a:lnTo>
                    <a:close/>
                    <a:moveTo>
                      <a:pt x="1822" y="319"/>
                    </a:moveTo>
                    <a:cubicBezTo>
                      <a:pt x="1827" y="318"/>
                      <a:pt x="1833" y="318"/>
                      <a:pt x="1838" y="318"/>
                    </a:cubicBezTo>
                    <a:cubicBezTo>
                      <a:pt x="1848" y="318"/>
                      <a:pt x="1857" y="319"/>
                      <a:pt x="1866" y="319"/>
                    </a:cubicBezTo>
                    <a:cubicBezTo>
                      <a:pt x="1866" y="111"/>
                      <a:pt x="1866" y="111"/>
                      <a:pt x="1866" y="111"/>
                    </a:cubicBezTo>
                    <a:cubicBezTo>
                      <a:pt x="1866" y="99"/>
                      <a:pt x="1856" y="89"/>
                      <a:pt x="1844" y="89"/>
                    </a:cubicBezTo>
                    <a:cubicBezTo>
                      <a:pt x="1330" y="89"/>
                      <a:pt x="1330" y="89"/>
                      <a:pt x="1330" y="89"/>
                    </a:cubicBezTo>
                    <a:cubicBezTo>
                      <a:pt x="1288" y="133"/>
                      <a:pt x="1288" y="133"/>
                      <a:pt x="1288" y="133"/>
                    </a:cubicBezTo>
                    <a:cubicBezTo>
                      <a:pt x="1822" y="133"/>
                      <a:pt x="1822" y="133"/>
                      <a:pt x="1822" y="133"/>
                    </a:cubicBezTo>
                    <a:lnTo>
                      <a:pt x="1822" y="319"/>
                    </a:lnTo>
                    <a:close/>
                    <a:moveTo>
                      <a:pt x="1907" y="321"/>
                    </a:moveTo>
                    <a:cubicBezTo>
                      <a:pt x="1922" y="322"/>
                      <a:pt x="1937" y="324"/>
                      <a:pt x="1951" y="326"/>
                    </a:cubicBezTo>
                    <a:cubicBezTo>
                      <a:pt x="1951" y="22"/>
                      <a:pt x="1951" y="22"/>
                      <a:pt x="1951" y="22"/>
                    </a:cubicBezTo>
                    <a:cubicBezTo>
                      <a:pt x="1951" y="10"/>
                      <a:pt x="1941" y="0"/>
                      <a:pt x="1929" y="0"/>
                    </a:cubicBezTo>
                    <a:cubicBezTo>
                      <a:pt x="1415" y="0"/>
                      <a:pt x="1415" y="0"/>
                      <a:pt x="1415" y="0"/>
                    </a:cubicBezTo>
                    <a:cubicBezTo>
                      <a:pt x="1373" y="44"/>
                      <a:pt x="1373" y="44"/>
                      <a:pt x="1373" y="44"/>
                    </a:cubicBezTo>
                    <a:cubicBezTo>
                      <a:pt x="1907" y="44"/>
                      <a:pt x="1907" y="44"/>
                      <a:pt x="1907" y="44"/>
                    </a:cubicBezTo>
                    <a:lnTo>
                      <a:pt x="1907" y="321"/>
                    </a:lnTo>
                    <a:close/>
                    <a:moveTo>
                      <a:pt x="1285" y="1059"/>
                    </a:moveTo>
                    <a:cubicBezTo>
                      <a:pt x="1209" y="1059"/>
                      <a:pt x="1209" y="1059"/>
                      <a:pt x="1209" y="1059"/>
                    </a:cubicBezTo>
                    <a:cubicBezTo>
                      <a:pt x="1209" y="1103"/>
                      <a:pt x="1209" y="1103"/>
                      <a:pt x="1209" y="1103"/>
                    </a:cubicBezTo>
                    <a:cubicBezTo>
                      <a:pt x="1285" y="1103"/>
                      <a:pt x="1285" y="1103"/>
                      <a:pt x="1285" y="1103"/>
                    </a:cubicBezTo>
                    <a:lnTo>
                      <a:pt x="1285" y="1059"/>
                    </a:lnTo>
                    <a:close/>
                    <a:moveTo>
                      <a:pt x="1285" y="948"/>
                    </a:moveTo>
                    <a:cubicBezTo>
                      <a:pt x="1285" y="902"/>
                      <a:pt x="1305" y="820"/>
                      <a:pt x="1441" y="787"/>
                    </a:cubicBezTo>
                    <a:cubicBezTo>
                      <a:pt x="1464" y="782"/>
                      <a:pt x="1490" y="777"/>
                      <a:pt x="1518" y="775"/>
                    </a:cubicBezTo>
                    <a:cubicBezTo>
                      <a:pt x="1518" y="496"/>
                      <a:pt x="1518" y="496"/>
                      <a:pt x="1518" y="496"/>
                    </a:cubicBezTo>
                    <a:cubicBezTo>
                      <a:pt x="1518" y="456"/>
                      <a:pt x="1533" y="388"/>
                      <a:pt x="1629" y="350"/>
                    </a:cubicBezTo>
                    <a:cubicBezTo>
                      <a:pt x="1629" y="334"/>
                      <a:pt x="1629" y="334"/>
                      <a:pt x="1629" y="334"/>
                    </a:cubicBezTo>
                    <a:cubicBezTo>
                      <a:pt x="1629" y="328"/>
                      <a:pt x="1625" y="324"/>
                      <a:pt x="1619" y="324"/>
                    </a:cubicBezTo>
                    <a:cubicBezTo>
                      <a:pt x="1209" y="324"/>
                      <a:pt x="1209" y="324"/>
                      <a:pt x="1209" y="324"/>
                    </a:cubicBezTo>
                    <a:cubicBezTo>
                      <a:pt x="1209" y="956"/>
                      <a:pt x="1209" y="956"/>
                      <a:pt x="1209" y="956"/>
                    </a:cubicBezTo>
                    <a:cubicBezTo>
                      <a:pt x="1285" y="956"/>
                      <a:pt x="1285" y="956"/>
                      <a:pt x="1285" y="956"/>
                    </a:cubicBezTo>
                    <a:lnTo>
                      <a:pt x="1285" y="948"/>
                    </a:lnTo>
                    <a:close/>
                    <a:moveTo>
                      <a:pt x="2057" y="403"/>
                    </a:moveTo>
                    <a:cubicBezTo>
                      <a:pt x="2032" y="388"/>
                      <a:pt x="2005" y="381"/>
                      <a:pt x="1992" y="378"/>
                    </a:cubicBezTo>
                    <a:cubicBezTo>
                      <a:pt x="1950" y="368"/>
                      <a:pt x="1896" y="362"/>
                      <a:pt x="1838" y="362"/>
                    </a:cubicBezTo>
                    <a:cubicBezTo>
                      <a:pt x="1781" y="362"/>
                      <a:pt x="1726" y="368"/>
                      <a:pt x="1684" y="378"/>
                    </a:cubicBezTo>
                    <a:cubicBezTo>
                      <a:pt x="1583" y="403"/>
                      <a:pt x="1562" y="456"/>
                      <a:pt x="1562" y="496"/>
                    </a:cubicBezTo>
                    <a:cubicBezTo>
                      <a:pt x="1562" y="771"/>
                      <a:pt x="1562" y="771"/>
                      <a:pt x="1562" y="771"/>
                    </a:cubicBezTo>
                    <a:cubicBezTo>
                      <a:pt x="1576" y="770"/>
                      <a:pt x="1591" y="770"/>
                      <a:pt x="1606" y="770"/>
                    </a:cubicBezTo>
                    <a:cubicBezTo>
                      <a:pt x="1606" y="770"/>
                      <a:pt x="1606" y="770"/>
                      <a:pt x="1606" y="770"/>
                    </a:cubicBezTo>
                    <a:cubicBezTo>
                      <a:pt x="1606" y="496"/>
                      <a:pt x="1606" y="496"/>
                      <a:pt x="1606" y="496"/>
                    </a:cubicBezTo>
                    <a:cubicBezTo>
                      <a:pt x="1606" y="443"/>
                      <a:pt x="1673" y="426"/>
                      <a:pt x="1695" y="421"/>
                    </a:cubicBezTo>
                    <a:cubicBezTo>
                      <a:pt x="1734" y="412"/>
                      <a:pt x="1785" y="406"/>
                      <a:pt x="1838" y="406"/>
                    </a:cubicBezTo>
                    <a:cubicBezTo>
                      <a:pt x="1892" y="406"/>
                      <a:pt x="1943" y="412"/>
                      <a:pt x="1982" y="421"/>
                    </a:cubicBezTo>
                    <a:cubicBezTo>
                      <a:pt x="2004" y="426"/>
                      <a:pt x="2071" y="443"/>
                      <a:pt x="2071" y="496"/>
                    </a:cubicBezTo>
                    <a:cubicBezTo>
                      <a:pt x="2071" y="1055"/>
                      <a:pt x="2071" y="1055"/>
                      <a:pt x="2071" y="1055"/>
                    </a:cubicBezTo>
                    <a:cubicBezTo>
                      <a:pt x="2071" y="1108"/>
                      <a:pt x="2004" y="1125"/>
                      <a:pt x="1982" y="1130"/>
                    </a:cubicBezTo>
                    <a:cubicBezTo>
                      <a:pt x="1965" y="1134"/>
                      <a:pt x="1947" y="1137"/>
                      <a:pt x="1926" y="1140"/>
                    </a:cubicBezTo>
                    <a:cubicBezTo>
                      <a:pt x="1926" y="1168"/>
                      <a:pt x="1926" y="1168"/>
                      <a:pt x="1926" y="1168"/>
                    </a:cubicBezTo>
                    <a:cubicBezTo>
                      <a:pt x="1926" y="1173"/>
                      <a:pt x="1926" y="1178"/>
                      <a:pt x="1925" y="1184"/>
                    </a:cubicBezTo>
                    <a:cubicBezTo>
                      <a:pt x="1950" y="1181"/>
                      <a:pt x="1973" y="1178"/>
                      <a:pt x="1992" y="1173"/>
                    </a:cubicBezTo>
                    <a:cubicBezTo>
                      <a:pt x="2094" y="1148"/>
                      <a:pt x="2115" y="1095"/>
                      <a:pt x="2115" y="1055"/>
                    </a:cubicBezTo>
                    <a:cubicBezTo>
                      <a:pt x="2115" y="496"/>
                      <a:pt x="2115" y="496"/>
                      <a:pt x="2115" y="496"/>
                    </a:cubicBezTo>
                    <a:cubicBezTo>
                      <a:pt x="2115" y="458"/>
                      <a:pt x="2094" y="425"/>
                      <a:pt x="2057" y="40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12">
                <a:extLst>
                  <a:ext uri="{FF2B5EF4-FFF2-40B4-BE49-F238E27FC236}">
                    <a16:creationId xmlns:a16="http://schemas.microsoft.com/office/drawing/2014/main" id="{D63CC4D9-71E9-47B8-8268-8DD12EBA4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9769" y="3071622"/>
                <a:ext cx="1006602" cy="862965"/>
              </a:xfrm>
              <a:custGeom>
                <a:avLst/>
                <a:gdLst>
                  <a:gd name="T0" fmla="*/ 0 w 1410"/>
                  <a:gd name="T1" fmla="*/ 1099 h 1208"/>
                  <a:gd name="T2" fmla="*/ 184 w 1410"/>
                  <a:gd name="T3" fmla="*/ 0 h 1208"/>
                  <a:gd name="T4" fmla="*/ 548 w 1410"/>
                  <a:gd name="T5" fmla="*/ 191 h 1208"/>
                  <a:gd name="T6" fmla="*/ 1410 w 1410"/>
                  <a:gd name="T7" fmla="*/ 662 h 1208"/>
                  <a:gd name="T8" fmla="*/ 1221 w 1410"/>
                  <a:gd name="T9" fmla="*/ 692 h 1208"/>
                  <a:gd name="T10" fmla="*/ 1033 w 1410"/>
                  <a:gd name="T11" fmla="*/ 662 h 1208"/>
                  <a:gd name="T12" fmla="*/ 1033 w 1410"/>
                  <a:gd name="T13" fmla="*/ 711 h 1208"/>
                  <a:gd name="T14" fmla="*/ 1033 w 1410"/>
                  <a:gd name="T15" fmla="*/ 714 h 1208"/>
                  <a:gd name="T16" fmla="*/ 1410 w 1410"/>
                  <a:gd name="T17" fmla="*/ 714 h 1208"/>
                  <a:gd name="T18" fmla="*/ 1409 w 1410"/>
                  <a:gd name="T19" fmla="*/ 711 h 1208"/>
                  <a:gd name="T20" fmla="*/ 1410 w 1410"/>
                  <a:gd name="T21" fmla="*/ 662 h 1208"/>
                  <a:gd name="T22" fmla="*/ 1033 w 1410"/>
                  <a:gd name="T23" fmla="*/ 490 h 1208"/>
                  <a:gd name="T24" fmla="*/ 1221 w 1410"/>
                  <a:gd name="T25" fmla="*/ 536 h 1208"/>
                  <a:gd name="T26" fmla="*/ 1410 w 1410"/>
                  <a:gd name="T27" fmla="*/ 490 h 1208"/>
                  <a:gd name="T28" fmla="*/ 1409 w 1410"/>
                  <a:gd name="T29" fmla="*/ 487 h 1208"/>
                  <a:gd name="T30" fmla="*/ 1033 w 1410"/>
                  <a:gd name="T31" fmla="*/ 487 h 1208"/>
                  <a:gd name="T32" fmla="*/ 1221 w 1410"/>
                  <a:gd name="T33" fmla="*/ 580 h 1208"/>
                  <a:gd name="T34" fmla="*/ 1033 w 1410"/>
                  <a:gd name="T35" fmla="*/ 550 h 1208"/>
                  <a:gd name="T36" fmla="*/ 1033 w 1410"/>
                  <a:gd name="T37" fmla="*/ 599 h 1208"/>
                  <a:gd name="T38" fmla="*/ 1033 w 1410"/>
                  <a:gd name="T39" fmla="*/ 602 h 1208"/>
                  <a:gd name="T40" fmla="*/ 1410 w 1410"/>
                  <a:gd name="T41" fmla="*/ 602 h 1208"/>
                  <a:gd name="T42" fmla="*/ 1409 w 1410"/>
                  <a:gd name="T43" fmla="*/ 599 h 1208"/>
                  <a:gd name="T44" fmla="*/ 1410 w 1410"/>
                  <a:gd name="T45" fmla="*/ 550 h 1208"/>
                  <a:gd name="T46" fmla="*/ 1221 w 1410"/>
                  <a:gd name="T47" fmla="*/ 580 h 1208"/>
                  <a:gd name="T48" fmla="*/ 845 w 1410"/>
                  <a:gd name="T49" fmla="*/ 1015 h 1208"/>
                  <a:gd name="T50" fmla="*/ 800 w 1410"/>
                  <a:gd name="T51" fmla="*/ 1049 h 1208"/>
                  <a:gd name="T52" fmla="*/ 800 w 1410"/>
                  <a:gd name="T53" fmla="*/ 1052 h 1208"/>
                  <a:gd name="T54" fmla="*/ 989 w 1410"/>
                  <a:gd name="T55" fmla="*/ 1098 h 1208"/>
                  <a:gd name="T56" fmla="*/ 1177 w 1410"/>
                  <a:gd name="T57" fmla="*/ 1052 h 1208"/>
                  <a:gd name="T58" fmla="*/ 1177 w 1410"/>
                  <a:gd name="T59" fmla="*/ 1049 h 1208"/>
                  <a:gd name="T60" fmla="*/ 1133 w 1410"/>
                  <a:gd name="T61" fmla="*/ 1015 h 1208"/>
                  <a:gd name="T62" fmla="*/ 1133 w 1410"/>
                  <a:gd name="T63" fmla="*/ 1127 h 1208"/>
                  <a:gd name="T64" fmla="*/ 845 w 1410"/>
                  <a:gd name="T65" fmla="*/ 1127 h 1208"/>
                  <a:gd name="T66" fmla="*/ 800 w 1410"/>
                  <a:gd name="T67" fmla="*/ 1161 h 1208"/>
                  <a:gd name="T68" fmla="*/ 800 w 1410"/>
                  <a:gd name="T69" fmla="*/ 1163 h 1208"/>
                  <a:gd name="T70" fmla="*/ 1177 w 1410"/>
                  <a:gd name="T71" fmla="*/ 1163 h 1208"/>
                  <a:gd name="T72" fmla="*/ 1177 w 1410"/>
                  <a:gd name="T73" fmla="*/ 1161 h 1208"/>
                  <a:gd name="T74" fmla="*/ 1133 w 1410"/>
                  <a:gd name="T75" fmla="*/ 1127 h 1208"/>
                  <a:gd name="T76" fmla="*/ 1177 w 1410"/>
                  <a:gd name="T77" fmla="*/ 941 h 1208"/>
                  <a:gd name="T78" fmla="*/ 800 w 1410"/>
                  <a:gd name="T79" fmla="*/ 941 h 1208"/>
                  <a:gd name="T80" fmla="*/ 1410 w 1410"/>
                  <a:gd name="T81" fmla="*/ 774 h 1208"/>
                  <a:gd name="T82" fmla="*/ 1221 w 1410"/>
                  <a:gd name="T83" fmla="*/ 804 h 1208"/>
                  <a:gd name="T84" fmla="*/ 1230 w 1410"/>
                  <a:gd name="T85" fmla="*/ 810 h 1208"/>
                  <a:gd name="T86" fmla="*/ 1410 w 1410"/>
                  <a:gd name="T87" fmla="*/ 826 h 1208"/>
                  <a:gd name="T88" fmla="*/ 1409 w 1410"/>
                  <a:gd name="T89" fmla="*/ 824 h 1208"/>
                  <a:gd name="T90" fmla="*/ 1410 w 1410"/>
                  <a:gd name="T91" fmla="*/ 774 h 1208"/>
                  <a:gd name="T92" fmla="*/ 1365 w 1410"/>
                  <a:gd name="T93" fmla="*/ 902 h 1208"/>
                  <a:gd name="T94" fmla="*/ 1309 w 1410"/>
                  <a:gd name="T95" fmla="*/ 942 h 1208"/>
                  <a:gd name="T96" fmla="*/ 1410 w 1410"/>
                  <a:gd name="T97" fmla="*/ 939 h 1208"/>
                  <a:gd name="T98" fmla="*/ 1409 w 1410"/>
                  <a:gd name="T99" fmla="*/ 936 h 1208"/>
                  <a:gd name="T100" fmla="*/ 1410 w 1410"/>
                  <a:gd name="T101" fmla="*/ 886 h 1208"/>
                  <a:gd name="T102" fmla="*/ 1365 w 1410"/>
                  <a:gd name="T103" fmla="*/ 1014 h 1208"/>
                  <a:gd name="T104" fmla="*/ 1309 w 1410"/>
                  <a:gd name="T105" fmla="*/ 1089 h 1208"/>
                  <a:gd name="T106" fmla="*/ 1409 w 1410"/>
                  <a:gd name="T107" fmla="*/ 1048 h 1208"/>
                  <a:gd name="T108" fmla="*/ 1410 w 1410"/>
                  <a:gd name="T109" fmla="*/ 998 h 1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10" h="1208">
                    <a:moveTo>
                      <a:pt x="548" y="1099"/>
                    </a:moveTo>
                    <a:cubicBezTo>
                      <a:pt x="0" y="1099"/>
                      <a:pt x="0" y="1099"/>
                      <a:pt x="0" y="1099"/>
                    </a:cubicBezTo>
                    <a:cubicBezTo>
                      <a:pt x="0" y="191"/>
                      <a:pt x="0" y="191"/>
                      <a:pt x="0" y="191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548" y="191"/>
                      <a:pt x="548" y="191"/>
                      <a:pt x="548" y="191"/>
                    </a:cubicBezTo>
                    <a:lnTo>
                      <a:pt x="548" y="1099"/>
                    </a:lnTo>
                    <a:close/>
                    <a:moveTo>
                      <a:pt x="1410" y="662"/>
                    </a:moveTo>
                    <a:cubicBezTo>
                      <a:pt x="1398" y="668"/>
                      <a:pt x="1383" y="673"/>
                      <a:pt x="1365" y="678"/>
                    </a:cubicBezTo>
                    <a:cubicBezTo>
                      <a:pt x="1326" y="687"/>
                      <a:pt x="1275" y="692"/>
                      <a:pt x="1221" y="692"/>
                    </a:cubicBezTo>
                    <a:cubicBezTo>
                      <a:pt x="1168" y="692"/>
                      <a:pt x="1117" y="687"/>
                      <a:pt x="1078" y="678"/>
                    </a:cubicBezTo>
                    <a:cubicBezTo>
                      <a:pt x="1060" y="673"/>
                      <a:pt x="1045" y="668"/>
                      <a:pt x="1033" y="662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1"/>
                      <a:pt x="1033" y="711"/>
                      <a:pt x="1033" y="711"/>
                    </a:cubicBezTo>
                    <a:cubicBezTo>
                      <a:pt x="1033" y="712"/>
                      <a:pt x="1033" y="713"/>
                      <a:pt x="1033" y="714"/>
                    </a:cubicBezTo>
                    <a:cubicBezTo>
                      <a:pt x="1033" y="714"/>
                      <a:pt x="1033" y="714"/>
                      <a:pt x="1033" y="714"/>
                    </a:cubicBezTo>
                    <a:cubicBezTo>
                      <a:pt x="1033" y="740"/>
                      <a:pt x="1117" y="760"/>
                      <a:pt x="1221" y="760"/>
                    </a:cubicBezTo>
                    <a:cubicBezTo>
                      <a:pt x="1325" y="760"/>
                      <a:pt x="1410" y="740"/>
                      <a:pt x="1410" y="714"/>
                    </a:cubicBezTo>
                    <a:cubicBezTo>
                      <a:pt x="1410" y="714"/>
                      <a:pt x="1410" y="714"/>
                      <a:pt x="1410" y="714"/>
                    </a:cubicBezTo>
                    <a:cubicBezTo>
                      <a:pt x="1410" y="713"/>
                      <a:pt x="1410" y="712"/>
                      <a:pt x="1409" y="711"/>
                    </a:cubicBezTo>
                    <a:cubicBezTo>
                      <a:pt x="1410" y="711"/>
                      <a:pt x="1410" y="711"/>
                      <a:pt x="1410" y="711"/>
                    </a:cubicBezTo>
                    <a:lnTo>
                      <a:pt x="1410" y="662"/>
                    </a:lnTo>
                    <a:close/>
                    <a:moveTo>
                      <a:pt x="1033" y="488"/>
                    </a:moveTo>
                    <a:cubicBezTo>
                      <a:pt x="1033" y="489"/>
                      <a:pt x="1033" y="490"/>
                      <a:pt x="1033" y="490"/>
                    </a:cubicBezTo>
                    <a:cubicBezTo>
                      <a:pt x="1033" y="490"/>
                      <a:pt x="1033" y="490"/>
                      <a:pt x="1033" y="490"/>
                    </a:cubicBezTo>
                    <a:cubicBezTo>
                      <a:pt x="1033" y="516"/>
                      <a:pt x="1117" y="536"/>
                      <a:pt x="1221" y="536"/>
                    </a:cubicBezTo>
                    <a:cubicBezTo>
                      <a:pt x="1325" y="536"/>
                      <a:pt x="1410" y="516"/>
                      <a:pt x="1410" y="490"/>
                    </a:cubicBezTo>
                    <a:cubicBezTo>
                      <a:pt x="1410" y="490"/>
                      <a:pt x="1410" y="490"/>
                      <a:pt x="1410" y="490"/>
                    </a:cubicBezTo>
                    <a:cubicBezTo>
                      <a:pt x="1410" y="490"/>
                      <a:pt x="1410" y="489"/>
                      <a:pt x="1410" y="488"/>
                    </a:cubicBezTo>
                    <a:cubicBezTo>
                      <a:pt x="1410" y="488"/>
                      <a:pt x="1410" y="488"/>
                      <a:pt x="1409" y="487"/>
                    </a:cubicBezTo>
                    <a:cubicBezTo>
                      <a:pt x="1403" y="463"/>
                      <a:pt x="1321" y="444"/>
                      <a:pt x="1221" y="444"/>
                    </a:cubicBezTo>
                    <a:cubicBezTo>
                      <a:pt x="1121" y="444"/>
                      <a:pt x="1039" y="463"/>
                      <a:pt x="1033" y="487"/>
                    </a:cubicBezTo>
                    <a:cubicBezTo>
                      <a:pt x="1033" y="488"/>
                      <a:pt x="1033" y="488"/>
                      <a:pt x="1033" y="488"/>
                    </a:cubicBezTo>
                    <a:close/>
                    <a:moveTo>
                      <a:pt x="1221" y="580"/>
                    </a:moveTo>
                    <a:cubicBezTo>
                      <a:pt x="1168" y="580"/>
                      <a:pt x="1117" y="575"/>
                      <a:pt x="1078" y="565"/>
                    </a:cubicBezTo>
                    <a:cubicBezTo>
                      <a:pt x="1060" y="561"/>
                      <a:pt x="1045" y="556"/>
                      <a:pt x="1033" y="550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599"/>
                      <a:pt x="1033" y="599"/>
                      <a:pt x="1033" y="599"/>
                    </a:cubicBezTo>
                    <a:cubicBezTo>
                      <a:pt x="1033" y="600"/>
                      <a:pt x="1033" y="601"/>
                      <a:pt x="1033" y="602"/>
                    </a:cubicBezTo>
                    <a:cubicBezTo>
                      <a:pt x="1033" y="602"/>
                      <a:pt x="1033" y="602"/>
                      <a:pt x="1033" y="602"/>
                    </a:cubicBezTo>
                    <a:cubicBezTo>
                      <a:pt x="1033" y="628"/>
                      <a:pt x="1117" y="648"/>
                      <a:pt x="1221" y="648"/>
                    </a:cubicBezTo>
                    <a:cubicBezTo>
                      <a:pt x="1325" y="648"/>
                      <a:pt x="1410" y="628"/>
                      <a:pt x="1410" y="602"/>
                    </a:cubicBezTo>
                    <a:cubicBezTo>
                      <a:pt x="1410" y="602"/>
                      <a:pt x="1410" y="602"/>
                      <a:pt x="1410" y="602"/>
                    </a:cubicBezTo>
                    <a:cubicBezTo>
                      <a:pt x="1410" y="601"/>
                      <a:pt x="1410" y="600"/>
                      <a:pt x="1409" y="599"/>
                    </a:cubicBezTo>
                    <a:cubicBezTo>
                      <a:pt x="1410" y="599"/>
                      <a:pt x="1410" y="599"/>
                      <a:pt x="1410" y="599"/>
                    </a:cubicBezTo>
                    <a:cubicBezTo>
                      <a:pt x="1410" y="550"/>
                      <a:pt x="1410" y="550"/>
                      <a:pt x="1410" y="550"/>
                    </a:cubicBezTo>
                    <a:cubicBezTo>
                      <a:pt x="1398" y="556"/>
                      <a:pt x="1383" y="561"/>
                      <a:pt x="1365" y="565"/>
                    </a:cubicBezTo>
                    <a:cubicBezTo>
                      <a:pt x="1326" y="575"/>
                      <a:pt x="1275" y="580"/>
                      <a:pt x="1221" y="580"/>
                    </a:cubicBezTo>
                    <a:close/>
                    <a:moveTo>
                      <a:pt x="989" y="1030"/>
                    </a:moveTo>
                    <a:cubicBezTo>
                      <a:pt x="935" y="1030"/>
                      <a:pt x="884" y="1024"/>
                      <a:pt x="845" y="1015"/>
                    </a:cubicBezTo>
                    <a:cubicBezTo>
                      <a:pt x="827" y="1011"/>
                      <a:pt x="812" y="1005"/>
                      <a:pt x="800" y="999"/>
                    </a:cubicBezTo>
                    <a:cubicBezTo>
                      <a:pt x="800" y="1049"/>
                      <a:pt x="800" y="1049"/>
                      <a:pt x="800" y="1049"/>
                    </a:cubicBezTo>
                    <a:cubicBezTo>
                      <a:pt x="801" y="1049"/>
                      <a:pt x="801" y="1049"/>
                      <a:pt x="801" y="1049"/>
                    </a:cubicBezTo>
                    <a:cubicBezTo>
                      <a:pt x="800" y="1050"/>
                      <a:pt x="800" y="1051"/>
                      <a:pt x="800" y="1052"/>
                    </a:cubicBezTo>
                    <a:cubicBezTo>
                      <a:pt x="800" y="1052"/>
                      <a:pt x="800" y="1052"/>
                      <a:pt x="800" y="1052"/>
                    </a:cubicBezTo>
                    <a:cubicBezTo>
                      <a:pt x="800" y="1077"/>
                      <a:pt x="885" y="1098"/>
                      <a:pt x="989" y="1098"/>
                    </a:cubicBezTo>
                    <a:cubicBezTo>
                      <a:pt x="1093" y="1098"/>
                      <a:pt x="1177" y="1077"/>
                      <a:pt x="1177" y="1052"/>
                    </a:cubicBezTo>
                    <a:cubicBezTo>
                      <a:pt x="1177" y="1052"/>
                      <a:pt x="1177" y="1052"/>
                      <a:pt x="1177" y="1052"/>
                    </a:cubicBezTo>
                    <a:cubicBezTo>
                      <a:pt x="1177" y="1051"/>
                      <a:pt x="1177" y="1050"/>
                      <a:pt x="1177" y="1049"/>
                    </a:cubicBezTo>
                    <a:cubicBezTo>
                      <a:pt x="1177" y="1049"/>
                      <a:pt x="1177" y="1049"/>
                      <a:pt x="1177" y="1049"/>
                    </a:cubicBezTo>
                    <a:cubicBezTo>
                      <a:pt x="1177" y="999"/>
                      <a:pt x="1177" y="999"/>
                      <a:pt x="1177" y="999"/>
                    </a:cubicBezTo>
                    <a:cubicBezTo>
                      <a:pt x="1165" y="1005"/>
                      <a:pt x="1150" y="1011"/>
                      <a:pt x="1133" y="1015"/>
                    </a:cubicBezTo>
                    <a:cubicBezTo>
                      <a:pt x="1094" y="1024"/>
                      <a:pt x="1043" y="1030"/>
                      <a:pt x="989" y="1030"/>
                    </a:cubicBezTo>
                    <a:close/>
                    <a:moveTo>
                      <a:pt x="1133" y="1127"/>
                    </a:moveTo>
                    <a:cubicBezTo>
                      <a:pt x="1094" y="1136"/>
                      <a:pt x="1043" y="1142"/>
                      <a:pt x="989" y="1142"/>
                    </a:cubicBezTo>
                    <a:cubicBezTo>
                      <a:pt x="935" y="1142"/>
                      <a:pt x="884" y="1136"/>
                      <a:pt x="845" y="1127"/>
                    </a:cubicBezTo>
                    <a:cubicBezTo>
                      <a:pt x="827" y="1123"/>
                      <a:pt x="812" y="1117"/>
                      <a:pt x="800" y="1112"/>
                    </a:cubicBezTo>
                    <a:cubicBezTo>
                      <a:pt x="800" y="1161"/>
                      <a:pt x="800" y="1161"/>
                      <a:pt x="800" y="1161"/>
                    </a:cubicBezTo>
                    <a:cubicBezTo>
                      <a:pt x="801" y="1161"/>
                      <a:pt x="801" y="1161"/>
                      <a:pt x="801" y="1161"/>
                    </a:cubicBezTo>
                    <a:cubicBezTo>
                      <a:pt x="800" y="1162"/>
                      <a:pt x="800" y="1162"/>
                      <a:pt x="800" y="1163"/>
                    </a:cubicBezTo>
                    <a:cubicBezTo>
                      <a:pt x="802" y="1188"/>
                      <a:pt x="886" y="1208"/>
                      <a:pt x="989" y="1208"/>
                    </a:cubicBezTo>
                    <a:cubicBezTo>
                      <a:pt x="1092" y="1208"/>
                      <a:pt x="1176" y="1188"/>
                      <a:pt x="1177" y="1163"/>
                    </a:cubicBezTo>
                    <a:cubicBezTo>
                      <a:pt x="1177" y="1162"/>
                      <a:pt x="1177" y="1162"/>
                      <a:pt x="1177" y="1161"/>
                    </a:cubicBezTo>
                    <a:cubicBezTo>
                      <a:pt x="1177" y="1161"/>
                      <a:pt x="1177" y="1161"/>
                      <a:pt x="1177" y="1161"/>
                    </a:cubicBezTo>
                    <a:cubicBezTo>
                      <a:pt x="1177" y="1112"/>
                      <a:pt x="1177" y="1112"/>
                      <a:pt x="1177" y="1112"/>
                    </a:cubicBezTo>
                    <a:cubicBezTo>
                      <a:pt x="1165" y="1117"/>
                      <a:pt x="1150" y="1123"/>
                      <a:pt x="1133" y="1127"/>
                    </a:cubicBezTo>
                    <a:close/>
                    <a:moveTo>
                      <a:pt x="989" y="986"/>
                    </a:moveTo>
                    <a:cubicBezTo>
                      <a:pt x="1091" y="986"/>
                      <a:pt x="1175" y="966"/>
                      <a:pt x="1177" y="941"/>
                    </a:cubicBezTo>
                    <a:cubicBezTo>
                      <a:pt x="1175" y="916"/>
                      <a:pt x="1091" y="896"/>
                      <a:pt x="989" y="896"/>
                    </a:cubicBezTo>
                    <a:cubicBezTo>
                      <a:pt x="886" y="896"/>
                      <a:pt x="803" y="916"/>
                      <a:pt x="800" y="941"/>
                    </a:cubicBezTo>
                    <a:cubicBezTo>
                      <a:pt x="803" y="966"/>
                      <a:pt x="886" y="986"/>
                      <a:pt x="989" y="986"/>
                    </a:cubicBezTo>
                    <a:close/>
                    <a:moveTo>
                      <a:pt x="1410" y="774"/>
                    </a:moveTo>
                    <a:cubicBezTo>
                      <a:pt x="1398" y="780"/>
                      <a:pt x="1383" y="785"/>
                      <a:pt x="1365" y="790"/>
                    </a:cubicBezTo>
                    <a:cubicBezTo>
                      <a:pt x="1326" y="799"/>
                      <a:pt x="1275" y="804"/>
                      <a:pt x="1221" y="804"/>
                    </a:cubicBezTo>
                    <a:cubicBezTo>
                      <a:pt x="1220" y="804"/>
                      <a:pt x="1219" y="804"/>
                      <a:pt x="1219" y="804"/>
                    </a:cubicBezTo>
                    <a:cubicBezTo>
                      <a:pt x="1222" y="806"/>
                      <a:pt x="1226" y="808"/>
                      <a:pt x="1230" y="810"/>
                    </a:cubicBezTo>
                    <a:cubicBezTo>
                      <a:pt x="1256" y="826"/>
                      <a:pt x="1276" y="846"/>
                      <a:pt x="1290" y="869"/>
                    </a:cubicBezTo>
                    <a:cubicBezTo>
                      <a:pt x="1360" y="863"/>
                      <a:pt x="1410" y="846"/>
                      <a:pt x="1410" y="826"/>
                    </a:cubicBezTo>
                    <a:cubicBezTo>
                      <a:pt x="1410" y="826"/>
                      <a:pt x="1410" y="826"/>
                      <a:pt x="1410" y="826"/>
                    </a:cubicBezTo>
                    <a:cubicBezTo>
                      <a:pt x="1410" y="825"/>
                      <a:pt x="1410" y="824"/>
                      <a:pt x="1409" y="824"/>
                    </a:cubicBezTo>
                    <a:cubicBezTo>
                      <a:pt x="1410" y="824"/>
                      <a:pt x="1410" y="824"/>
                      <a:pt x="1410" y="824"/>
                    </a:cubicBezTo>
                    <a:lnTo>
                      <a:pt x="1410" y="774"/>
                    </a:lnTo>
                    <a:close/>
                    <a:moveTo>
                      <a:pt x="1410" y="886"/>
                    </a:moveTo>
                    <a:cubicBezTo>
                      <a:pt x="1398" y="892"/>
                      <a:pt x="1383" y="897"/>
                      <a:pt x="1365" y="902"/>
                    </a:cubicBezTo>
                    <a:cubicBezTo>
                      <a:pt x="1348" y="906"/>
                      <a:pt x="1328" y="909"/>
                      <a:pt x="1306" y="912"/>
                    </a:cubicBezTo>
                    <a:cubicBezTo>
                      <a:pt x="1308" y="922"/>
                      <a:pt x="1309" y="932"/>
                      <a:pt x="1309" y="942"/>
                    </a:cubicBezTo>
                    <a:cubicBezTo>
                      <a:pt x="1309" y="979"/>
                      <a:pt x="1309" y="979"/>
                      <a:pt x="1309" y="979"/>
                    </a:cubicBezTo>
                    <a:cubicBezTo>
                      <a:pt x="1369" y="971"/>
                      <a:pt x="1410" y="956"/>
                      <a:pt x="1410" y="939"/>
                    </a:cubicBezTo>
                    <a:cubicBezTo>
                      <a:pt x="1410" y="939"/>
                      <a:pt x="1410" y="939"/>
                      <a:pt x="1410" y="939"/>
                    </a:cubicBezTo>
                    <a:cubicBezTo>
                      <a:pt x="1410" y="938"/>
                      <a:pt x="1410" y="937"/>
                      <a:pt x="1409" y="936"/>
                    </a:cubicBezTo>
                    <a:cubicBezTo>
                      <a:pt x="1410" y="936"/>
                      <a:pt x="1410" y="936"/>
                      <a:pt x="1410" y="936"/>
                    </a:cubicBezTo>
                    <a:lnTo>
                      <a:pt x="1410" y="886"/>
                    </a:lnTo>
                    <a:close/>
                    <a:moveTo>
                      <a:pt x="1410" y="998"/>
                    </a:moveTo>
                    <a:cubicBezTo>
                      <a:pt x="1398" y="1004"/>
                      <a:pt x="1383" y="1009"/>
                      <a:pt x="1365" y="1014"/>
                    </a:cubicBezTo>
                    <a:cubicBezTo>
                      <a:pt x="1348" y="1018"/>
                      <a:pt x="1330" y="1021"/>
                      <a:pt x="1309" y="1023"/>
                    </a:cubicBezTo>
                    <a:cubicBezTo>
                      <a:pt x="1309" y="1089"/>
                      <a:pt x="1309" y="1089"/>
                      <a:pt x="1309" y="1089"/>
                    </a:cubicBezTo>
                    <a:cubicBezTo>
                      <a:pt x="1368" y="1082"/>
                      <a:pt x="1409" y="1067"/>
                      <a:pt x="1410" y="1050"/>
                    </a:cubicBezTo>
                    <a:cubicBezTo>
                      <a:pt x="1410" y="1049"/>
                      <a:pt x="1410" y="1048"/>
                      <a:pt x="1409" y="1048"/>
                    </a:cubicBezTo>
                    <a:cubicBezTo>
                      <a:pt x="1410" y="1048"/>
                      <a:pt x="1410" y="1048"/>
                      <a:pt x="1410" y="1048"/>
                    </a:cubicBezTo>
                    <a:lnTo>
                      <a:pt x="1410" y="99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68" name="Rectangle 67"/>
          <p:cNvSpPr/>
          <p:nvPr/>
        </p:nvSpPr>
        <p:spPr>
          <a:xfrm>
            <a:off x="5827471" y="555010"/>
            <a:ext cx="461045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  <a:latin typeface="Trebuchet MS" panose="020B0603020202020204" pitchFamily="34" charset="0"/>
              </a:rPr>
              <a:t>Baselin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694678" y="2193994"/>
            <a:ext cx="4195395" cy="2091837"/>
            <a:chOff x="7744357" y="4575463"/>
            <a:chExt cx="4195395" cy="2091837"/>
          </a:xfrm>
        </p:grpSpPr>
        <p:sp>
          <p:nvSpPr>
            <p:cNvPr id="51" name="TextBox 50"/>
            <p:cNvSpPr txBox="1"/>
            <p:nvPr/>
          </p:nvSpPr>
          <p:spPr>
            <a:xfrm>
              <a:off x="7744357" y="4943751"/>
              <a:ext cx="4195395" cy="1723549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342900" indent="-342900">
                <a:buClr>
                  <a:schemeClr val="tx2"/>
                </a:buClr>
                <a:buFont typeface="+mj-lt"/>
                <a:buAutoNum type="arabicPeriod" startAt="3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Redesign of SCM processes</a:t>
              </a:r>
            </a:p>
            <a:p>
              <a:pPr marL="781200" lvl="2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Sourcing Strategic planning </a:t>
              </a:r>
              <a:r>
                <a:rPr lang="en-US" sz="1400" i="1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(new)</a:t>
              </a:r>
            </a:p>
            <a:p>
              <a:pPr marL="781200" lvl="2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Sourcing</a:t>
              </a:r>
            </a:p>
            <a:p>
              <a:pPr marL="781200" lvl="2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Contract management</a:t>
              </a:r>
            </a:p>
            <a:p>
              <a:pPr marL="781200" lvl="2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Supplier Performance </a:t>
              </a:r>
              <a:r>
                <a:rPr lang="en-US" sz="1400" i="1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(new)</a:t>
              </a:r>
            </a:p>
            <a:p>
              <a:pPr marL="342900" indent="-342900">
                <a:buClr>
                  <a:schemeClr val="tx2"/>
                </a:buClr>
                <a:buSzPct val="100000"/>
                <a:buFont typeface="+mj-lt"/>
                <a:buAutoNum type="arabicPeriod" startAt="4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Definition of new organizational structure to ensure efficiency and capture savings potential</a:t>
              </a:r>
              <a:r>
                <a:rPr lang="en-US" sz="1400" i="1" dirty="0">
                  <a:solidFill>
                    <a:srgbClr val="7F7F7F">
                      <a:lumMod val="100000"/>
                    </a:srgbClr>
                  </a:solidFill>
                  <a:latin typeface="Trebuchet MS" panose="020B0603020202020204" pitchFamily="34" charset="0"/>
                </a:rPr>
                <a:t> (to be revised in separate forum)</a:t>
              </a:r>
              <a:endParaRPr lang="en-US" sz="1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7744357" y="4575463"/>
              <a:ext cx="3818993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000" dirty="0">
                  <a:solidFill>
                    <a:schemeClr val="tx2"/>
                  </a:solidFill>
                  <a:latin typeface="Trebuchet MS" panose="020B0603020202020204" pitchFamily="34" charset="0"/>
                </a:rPr>
                <a:t>Process and org. redesign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975361" y="4575463"/>
            <a:ext cx="4108437" cy="1877311"/>
            <a:chOff x="7694678" y="2193994"/>
            <a:chExt cx="4108437" cy="1877311"/>
          </a:xfrm>
        </p:grpSpPr>
        <p:sp>
          <p:nvSpPr>
            <p:cNvPr id="50" name="TextBox 49"/>
            <p:cNvSpPr txBox="1"/>
            <p:nvPr/>
          </p:nvSpPr>
          <p:spPr>
            <a:xfrm>
              <a:off x="7694678" y="2563200"/>
              <a:ext cx="4108437" cy="150810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342900" indent="-342900">
                <a:buClr>
                  <a:schemeClr val="tx2"/>
                </a:buClr>
                <a:buFont typeface="+mj-lt"/>
                <a:buAutoNum type="arabicPeriod" startAt="5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</a:rPr>
                <a:t>Definition of optimization potential for 8 spend categories</a:t>
              </a:r>
            </a:p>
            <a:p>
              <a:pPr marL="781200" lvl="2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30-50 $M per year</a:t>
              </a:r>
            </a:p>
            <a:p>
              <a:pPr marL="781200" lvl="2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20-30 $M to be captured in 2019 </a:t>
              </a:r>
              <a:b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</a:b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(11 $M already in budget</a:t>
              </a: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</a:rPr>
                <a:t>)</a:t>
              </a:r>
            </a:p>
            <a:p>
              <a:pPr marL="342900" indent="-342900">
                <a:buClr>
                  <a:schemeClr val="tx2"/>
                </a:buClr>
                <a:buSzPct val="100000"/>
                <a:buFont typeface="+mj-lt"/>
                <a:buAutoNum type="arabicPeriod" startAt="6"/>
              </a:pPr>
              <a:r>
                <a:rPr lang="en-US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Implementation plan to reach optimization targets for core categories 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7694678" y="2193994"/>
              <a:ext cx="3942241" cy="30777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187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B6187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000" dirty="0">
                  <a:solidFill>
                    <a:schemeClr val="tx2"/>
                  </a:solidFill>
                  <a:latin typeface="Trebuchet MS" panose="020B0603020202020204" pitchFamily="34" charset="0"/>
                </a:rPr>
                <a:t>Savings potenti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68899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1388146" y="4691187"/>
            <a:ext cx="929337" cy="995874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631553" y="908491"/>
            <a:ext cx="3448081" cy="34891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Rectangle 3">
            <a:hlinkClick r:id="" action="ppaction://noaction"/>
          </p:cNvPr>
          <p:cNvSpPr/>
          <p:nvPr>
            <p:custDataLst>
              <p:tags r:id="rId5"/>
            </p:custDataLst>
          </p:nvPr>
        </p:nvSpPr>
        <p:spPr>
          <a:xfrm>
            <a:off x="5021721" y="2616486"/>
            <a:ext cx="6009658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Implementation plan</a:t>
            </a:r>
          </a:p>
        </p:txBody>
      </p:sp>
      <p:sp>
        <p:nvSpPr>
          <p:cNvPr id="3" name="Rectangle 2">
            <a:hlinkClick r:id="rId9" action="ppaction://hlinksldjump"/>
          </p:cNvPr>
          <p:cNvSpPr/>
          <p:nvPr>
            <p:custDataLst>
              <p:tags r:id="rId6"/>
            </p:custDataLst>
          </p:nvPr>
        </p:nvSpPr>
        <p:spPr>
          <a:xfrm>
            <a:off x="5021721" y="2050627"/>
            <a:ext cx="6009658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Savings potential for FEC in core categories</a:t>
            </a:r>
          </a:p>
        </p:txBody>
      </p:sp>
      <p:sp>
        <p:nvSpPr>
          <p:cNvPr id="2" name="Rectangle 1">
            <a:hlinkClick r:id="rId10" action="ppaction://hlinksldjump"/>
          </p:cNvPr>
          <p:cNvSpPr/>
          <p:nvPr>
            <p:custDataLst>
              <p:tags r:id="rId7"/>
            </p:custDataLst>
          </p:nvPr>
        </p:nvSpPr>
        <p:spPr>
          <a:xfrm>
            <a:off x="5021721" y="1484768"/>
            <a:ext cx="6009658" cy="3753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</a:pPr>
            <a:r>
              <a:rPr lang="en-US" sz="240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New SCM process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266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New SCM processes</a:t>
            </a:r>
          </a:p>
        </p:txBody>
      </p:sp>
      <p:sp>
        <p:nvSpPr>
          <p:cNvPr id="2" name="Rectangle 1"/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596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98"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ee4pHeader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00088" y="4274241"/>
            <a:ext cx="2807999" cy="795273"/>
          </a:xfrm>
          <a:prstGeom prst="homePlate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ing Strategic Planning           </a:t>
            </a:r>
          </a:p>
        </p:txBody>
      </p:sp>
      <p:sp>
        <p:nvSpPr>
          <p:cNvPr id="8" name="ee4pHeader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505195" y="4274241"/>
            <a:ext cx="2807999" cy="795273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ing</a:t>
            </a:r>
          </a:p>
        </p:txBody>
      </p:sp>
      <p:sp>
        <p:nvSpPr>
          <p:cNvPr id="9" name="ee4pHeader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310302" y="4274241"/>
            <a:ext cx="2807999" cy="795273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ntract Management</a:t>
            </a:r>
          </a:p>
        </p:txBody>
      </p:sp>
      <p:sp>
        <p:nvSpPr>
          <p:cNvPr id="10" name="ee4pHeader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9115411" y="4274241"/>
            <a:ext cx="2807999" cy="795273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upplier Performance</a:t>
            </a:r>
          </a:p>
        </p:txBody>
      </p:sp>
      <p:sp>
        <p:nvSpPr>
          <p:cNvPr id="21" name="ee4pContent2"/>
          <p:cNvSpPr txBox="1"/>
          <p:nvPr/>
        </p:nvSpPr>
        <p:spPr>
          <a:xfrm>
            <a:off x="3650183" y="5077607"/>
            <a:ext cx="2518023" cy="10332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Implement defined sourcing category strategies</a:t>
            </a:r>
          </a:p>
        </p:txBody>
      </p:sp>
      <p:sp>
        <p:nvSpPr>
          <p:cNvPr id="22" name="ee4pContent3"/>
          <p:cNvSpPr txBox="1"/>
          <p:nvPr/>
        </p:nvSpPr>
        <p:spPr>
          <a:xfrm>
            <a:off x="6455290" y="5077607"/>
            <a:ext cx="2518023" cy="10332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Contract initiation and administration to ensure smooth and efficient contract execution</a:t>
            </a:r>
          </a:p>
        </p:txBody>
      </p:sp>
      <p:sp>
        <p:nvSpPr>
          <p:cNvPr id="23" name="ee4pContent4"/>
          <p:cNvSpPr txBox="1"/>
          <p:nvPr/>
        </p:nvSpPr>
        <p:spPr>
          <a:xfrm>
            <a:off x="9260399" y="5077607"/>
            <a:ext cx="2518023" cy="10332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Manage supplier relationships to reduce risk and safeguard quality contractin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  <a:ln cap="rnd">
            <a:noFill/>
            <a:round/>
          </a:ln>
        </p:spPr>
        <p:txBody>
          <a:bodyPr/>
          <a:lstStyle/>
          <a:p>
            <a:r>
              <a:rPr lang="en-US" dirty="0" err="1"/>
              <a:t>SCM</a:t>
            </a:r>
            <a:r>
              <a:rPr lang="en-US" dirty="0"/>
              <a:t> should cover four key functions for effective Category Management</a:t>
            </a:r>
            <a:endParaRPr lang="en-US" dirty="0">
              <a:latin typeface="+mj-lt"/>
            </a:endParaRPr>
          </a:p>
        </p:txBody>
      </p:sp>
      <p:sp>
        <p:nvSpPr>
          <p:cNvPr id="15" name="ee4pContent1"/>
          <p:cNvSpPr txBox="1"/>
          <p:nvPr/>
        </p:nvSpPr>
        <p:spPr>
          <a:xfrm>
            <a:off x="845076" y="5077607"/>
            <a:ext cx="2518023" cy="10332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Analyze expected and historic spend volumes, business LTP</a:t>
            </a:r>
            <a:r>
              <a:rPr lang="en-US" sz="1400" baseline="30000" dirty="0">
                <a:solidFill>
                  <a:schemeClr val="tx1"/>
                </a:solidFill>
              </a:rPr>
              <a:t>1</a:t>
            </a:r>
            <a:r>
              <a:rPr lang="en-US" sz="1400" dirty="0">
                <a:solidFill>
                  <a:schemeClr val="tx1"/>
                </a:solidFill>
              </a:rPr>
              <a:t> and market to define category strategy</a:t>
            </a:r>
          </a:p>
        </p:txBody>
      </p:sp>
      <p:sp>
        <p:nvSpPr>
          <p:cNvPr id="31" name="ee4pHeader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30002" y="2404287"/>
            <a:ext cx="11223322" cy="795273"/>
          </a:xfrm>
          <a:prstGeom prst="homePlate">
            <a:avLst>
              <a:gd name="adj" fmla="val 12004"/>
            </a:avLst>
          </a:prstGeom>
          <a:solidFill>
            <a:srgbClr val="634096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ategory Management end-to-end process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4445355" y="3634294"/>
            <a:ext cx="787506" cy="787507"/>
            <a:chOff x="3933353" y="2016209"/>
            <a:chExt cx="1534628" cy="1534629"/>
          </a:xfrm>
        </p:grpSpPr>
        <p:sp>
          <p:nvSpPr>
            <p:cNvPr id="33" name="Oval 32"/>
            <p:cNvSpPr>
              <a:spLocks/>
            </p:cNvSpPr>
            <p:nvPr/>
          </p:nvSpPr>
          <p:spPr>
            <a:xfrm>
              <a:off x="3933353" y="2016209"/>
              <a:ext cx="1534628" cy="1534629"/>
            </a:xfrm>
            <a:prstGeom prst="ellipse">
              <a:avLst/>
            </a:prstGeom>
            <a:solidFill>
              <a:srgbClr val="FFFFFF"/>
            </a:solidFill>
            <a:ln w="6096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24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34" name="Group 33"/>
            <p:cNvGrpSpPr>
              <a:grpSpLocks noChangeAspect="1"/>
            </p:cNvGrpSpPr>
            <p:nvPr/>
          </p:nvGrpSpPr>
          <p:grpSpPr>
            <a:xfrm>
              <a:off x="4042909" y="2152390"/>
              <a:ext cx="1315517" cy="1316736"/>
              <a:chOff x="5273799" y="2606041"/>
              <a:chExt cx="1644395" cy="1645921"/>
            </a:xfrm>
          </p:grpSpPr>
          <p:sp>
            <p:nvSpPr>
              <p:cNvPr id="35" name="AutoShape 38">
                <a:extLst>
                  <a:ext uri="{FF2B5EF4-FFF2-40B4-BE49-F238E27FC236}">
                    <a16:creationId xmlns:a16="http://schemas.microsoft.com/office/drawing/2014/main" id="{66BBCF74-3D17-4584-8003-9BD79B46F84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1"/>
                <a:ext cx="1644395" cy="1645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5640703" y="2723769"/>
                <a:ext cx="1021842" cy="1400938"/>
                <a:chOff x="5640704" y="2723769"/>
                <a:chExt cx="1021842" cy="1400937"/>
              </a:xfrm>
            </p:grpSpPr>
            <p:sp>
              <p:nvSpPr>
                <p:cNvPr id="37" name="Freeform 40">
                  <a:extLst>
                    <a:ext uri="{FF2B5EF4-FFF2-40B4-BE49-F238E27FC236}">
                      <a16:creationId xmlns:a16="http://schemas.microsoft.com/office/drawing/2014/main" id="{38B31E70-E392-416A-8760-214B122853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40704" y="2839593"/>
                  <a:ext cx="909066" cy="1207389"/>
                </a:xfrm>
                <a:custGeom>
                  <a:avLst/>
                  <a:gdLst>
                    <a:gd name="T0" fmla="*/ 1230 w 1274"/>
                    <a:gd name="T1" fmla="*/ 44 h 1690"/>
                    <a:gd name="T2" fmla="*/ 887 w 1274"/>
                    <a:gd name="T3" fmla="*/ 44 h 1690"/>
                    <a:gd name="T4" fmla="*/ 887 w 1274"/>
                    <a:gd name="T5" fmla="*/ 0 h 1690"/>
                    <a:gd name="T6" fmla="*/ 1252 w 1274"/>
                    <a:gd name="T7" fmla="*/ 0 h 1690"/>
                    <a:gd name="T8" fmla="*/ 1274 w 1274"/>
                    <a:gd name="T9" fmla="*/ 22 h 1690"/>
                    <a:gd name="T10" fmla="*/ 1274 w 1274"/>
                    <a:gd name="T11" fmla="*/ 1243 h 1690"/>
                    <a:gd name="T12" fmla="*/ 1230 w 1274"/>
                    <a:gd name="T13" fmla="*/ 1226 h 1690"/>
                    <a:gd name="T14" fmla="*/ 1230 w 1274"/>
                    <a:gd name="T15" fmla="*/ 44 h 1690"/>
                    <a:gd name="T16" fmla="*/ 847 w 1274"/>
                    <a:gd name="T17" fmla="*/ 1646 h 1690"/>
                    <a:gd name="T18" fmla="*/ 44 w 1274"/>
                    <a:gd name="T19" fmla="*/ 1646 h 1690"/>
                    <a:gd name="T20" fmla="*/ 44 w 1274"/>
                    <a:gd name="T21" fmla="*/ 44 h 1690"/>
                    <a:gd name="T22" fmla="*/ 387 w 1274"/>
                    <a:gd name="T23" fmla="*/ 44 h 1690"/>
                    <a:gd name="T24" fmla="*/ 387 w 1274"/>
                    <a:gd name="T25" fmla="*/ 0 h 1690"/>
                    <a:gd name="T26" fmla="*/ 22 w 1274"/>
                    <a:gd name="T27" fmla="*/ 0 h 1690"/>
                    <a:gd name="T28" fmla="*/ 0 w 1274"/>
                    <a:gd name="T29" fmla="*/ 22 h 1690"/>
                    <a:gd name="T30" fmla="*/ 0 w 1274"/>
                    <a:gd name="T31" fmla="*/ 1668 h 1690"/>
                    <a:gd name="T32" fmla="*/ 22 w 1274"/>
                    <a:gd name="T33" fmla="*/ 1690 h 1690"/>
                    <a:gd name="T34" fmla="*/ 869 w 1274"/>
                    <a:gd name="T35" fmla="*/ 1690 h 1690"/>
                    <a:gd name="T36" fmla="*/ 847 w 1274"/>
                    <a:gd name="T37" fmla="*/ 1646 h 1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74" h="1690">
                      <a:moveTo>
                        <a:pt x="1230" y="44"/>
                      </a:moveTo>
                      <a:cubicBezTo>
                        <a:pt x="887" y="44"/>
                        <a:pt x="887" y="44"/>
                        <a:pt x="887" y="44"/>
                      </a:cubicBezTo>
                      <a:cubicBezTo>
                        <a:pt x="887" y="0"/>
                        <a:pt x="887" y="0"/>
                        <a:pt x="887" y="0"/>
                      </a:cubicBezTo>
                      <a:cubicBezTo>
                        <a:pt x="1252" y="0"/>
                        <a:pt x="1252" y="0"/>
                        <a:pt x="1252" y="0"/>
                      </a:cubicBezTo>
                      <a:cubicBezTo>
                        <a:pt x="1264" y="0"/>
                        <a:pt x="1274" y="10"/>
                        <a:pt x="1274" y="22"/>
                      </a:cubicBezTo>
                      <a:cubicBezTo>
                        <a:pt x="1274" y="1243"/>
                        <a:pt x="1274" y="1243"/>
                        <a:pt x="1274" y="1243"/>
                      </a:cubicBezTo>
                      <a:cubicBezTo>
                        <a:pt x="1259" y="1237"/>
                        <a:pt x="1245" y="1231"/>
                        <a:pt x="1230" y="1226"/>
                      </a:cubicBezTo>
                      <a:lnTo>
                        <a:pt x="1230" y="44"/>
                      </a:lnTo>
                      <a:close/>
                      <a:moveTo>
                        <a:pt x="847" y="1646"/>
                      </a:moveTo>
                      <a:cubicBezTo>
                        <a:pt x="44" y="1646"/>
                        <a:pt x="44" y="1646"/>
                        <a:pt x="44" y="1646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387" y="44"/>
                        <a:pt x="387" y="44"/>
                        <a:pt x="387" y="44"/>
                      </a:cubicBezTo>
                      <a:cubicBezTo>
                        <a:pt x="387" y="0"/>
                        <a:pt x="387" y="0"/>
                        <a:pt x="387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1668"/>
                        <a:pt x="0" y="1668"/>
                        <a:pt x="0" y="1668"/>
                      </a:cubicBezTo>
                      <a:cubicBezTo>
                        <a:pt x="0" y="1680"/>
                        <a:pt x="10" y="1690"/>
                        <a:pt x="22" y="1690"/>
                      </a:cubicBezTo>
                      <a:cubicBezTo>
                        <a:pt x="869" y="1690"/>
                        <a:pt x="869" y="1690"/>
                        <a:pt x="869" y="1690"/>
                      </a:cubicBezTo>
                      <a:cubicBezTo>
                        <a:pt x="860" y="1675"/>
                        <a:pt x="853" y="1661"/>
                        <a:pt x="847" y="1646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8" name="Freeform 41">
                  <a:extLst>
                    <a:ext uri="{FF2B5EF4-FFF2-40B4-BE49-F238E27FC236}">
                      <a16:creationId xmlns:a16="http://schemas.microsoft.com/office/drawing/2014/main" id="{6542E8E3-87E9-4FB1-A146-9731BB4EF7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82055" y="2723769"/>
                  <a:ext cx="880491" cy="1400937"/>
                </a:xfrm>
                <a:custGeom>
                  <a:avLst/>
                  <a:gdLst>
                    <a:gd name="T0" fmla="*/ 565 w 1234"/>
                    <a:gd name="T1" fmla="*/ 94 h 1961"/>
                    <a:gd name="T2" fmla="*/ 313 w 1234"/>
                    <a:gd name="T3" fmla="*/ 94 h 1961"/>
                    <a:gd name="T4" fmla="*/ 233 w 1234"/>
                    <a:gd name="T5" fmla="*/ 104 h 1961"/>
                    <a:gd name="T6" fmla="*/ 255 w 1234"/>
                    <a:gd name="T7" fmla="*/ 275 h 1961"/>
                    <a:gd name="T8" fmla="*/ 645 w 1234"/>
                    <a:gd name="T9" fmla="*/ 253 h 1961"/>
                    <a:gd name="T10" fmla="*/ 635 w 1234"/>
                    <a:gd name="T11" fmla="*/ 94 h 1961"/>
                    <a:gd name="T12" fmla="*/ 439 w 1234"/>
                    <a:gd name="T13" fmla="*/ 44 h 1961"/>
                    <a:gd name="T14" fmla="*/ 360 w 1234"/>
                    <a:gd name="T15" fmla="*/ 94 h 1961"/>
                    <a:gd name="T16" fmla="*/ 22 w 1234"/>
                    <a:gd name="T17" fmla="*/ 623 h 1961"/>
                    <a:gd name="T18" fmla="*/ 22 w 1234"/>
                    <a:gd name="T19" fmla="*/ 579 h 1961"/>
                    <a:gd name="T20" fmla="*/ 878 w 1234"/>
                    <a:gd name="T21" fmla="*/ 601 h 1961"/>
                    <a:gd name="T22" fmla="*/ 878 w 1234"/>
                    <a:gd name="T23" fmla="*/ 764 h 1961"/>
                    <a:gd name="T24" fmla="*/ 22 w 1234"/>
                    <a:gd name="T25" fmla="*/ 742 h 1961"/>
                    <a:gd name="T26" fmla="*/ 22 w 1234"/>
                    <a:gd name="T27" fmla="*/ 786 h 1961"/>
                    <a:gd name="T28" fmla="*/ 878 w 1234"/>
                    <a:gd name="T29" fmla="*/ 764 h 1961"/>
                    <a:gd name="T30" fmla="*/ 856 w 1234"/>
                    <a:gd name="T31" fmla="*/ 904 h 1961"/>
                    <a:gd name="T32" fmla="*/ 0 w 1234"/>
                    <a:gd name="T33" fmla="*/ 926 h 1961"/>
                    <a:gd name="T34" fmla="*/ 856 w 1234"/>
                    <a:gd name="T35" fmla="*/ 948 h 1961"/>
                    <a:gd name="T36" fmla="*/ 878 w 1234"/>
                    <a:gd name="T37" fmla="*/ 1088 h 1961"/>
                    <a:gd name="T38" fmla="*/ 22 w 1234"/>
                    <a:gd name="T39" fmla="*/ 1066 h 1961"/>
                    <a:gd name="T40" fmla="*/ 22 w 1234"/>
                    <a:gd name="T41" fmla="*/ 1110 h 1961"/>
                    <a:gd name="T42" fmla="*/ 878 w 1234"/>
                    <a:gd name="T43" fmla="*/ 1088 h 1961"/>
                    <a:gd name="T44" fmla="*/ 856 w 1234"/>
                    <a:gd name="T45" fmla="*/ 1228 h 1961"/>
                    <a:gd name="T46" fmla="*/ 0 w 1234"/>
                    <a:gd name="T47" fmla="*/ 1250 h 1961"/>
                    <a:gd name="T48" fmla="*/ 856 w 1234"/>
                    <a:gd name="T49" fmla="*/ 1272 h 1961"/>
                    <a:gd name="T50" fmla="*/ 1133 w 1234"/>
                    <a:gd name="T51" fmla="*/ 1504 h 1961"/>
                    <a:gd name="T52" fmla="*/ 752 w 1234"/>
                    <a:gd name="T53" fmla="*/ 1496 h 1961"/>
                    <a:gd name="T54" fmla="*/ 939 w 1234"/>
                    <a:gd name="T55" fmla="*/ 1961 h 1961"/>
                    <a:gd name="T56" fmla="*/ 1104 w 1234"/>
                    <a:gd name="T57" fmla="*/ 1904 h 1961"/>
                    <a:gd name="T58" fmla="*/ 1149 w 1234"/>
                    <a:gd name="T59" fmla="*/ 1861 h 1961"/>
                    <a:gd name="T60" fmla="*/ 1121 w 1234"/>
                    <a:gd name="T61" fmla="*/ 1615 h 1961"/>
                    <a:gd name="T62" fmla="*/ 879 w 1234"/>
                    <a:gd name="T63" fmla="*/ 1838 h 1961"/>
                    <a:gd name="T64" fmla="*/ 753 w 1234"/>
                    <a:gd name="T65" fmla="*/ 1721 h 1961"/>
                    <a:gd name="T66" fmla="*/ 784 w 1234"/>
                    <a:gd name="T67" fmla="*/ 1690 h 1961"/>
                    <a:gd name="T68" fmla="*/ 1091 w 1234"/>
                    <a:gd name="T69" fmla="*/ 1583 h 1961"/>
                    <a:gd name="T70" fmla="*/ 1121 w 1234"/>
                    <a:gd name="T71" fmla="*/ 1615 h 1961"/>
                    <a:gd name="T72" fmla="*/ 22 w 1234"/>
                    <a:gd name="T73" fmla="*/ 1391 h 1961"/>
                    <a:gd name="T74" fmla="*/ 22 w 1234"/>
                    <a:gd name="T75" fmla="*/ 1435 h 1961"/>
                    <a:gd name="T76" fmla="*/ 839 w 1234"/>
                    <a:gd name="T77" fmla="*/ 1391 h 1961"/>
                    <a:gd name="T78" fmla="*/ 22 w 1234"/>
                    <a:gd name="T79" fmla="*/ 1553 h 1961"/>
                    <a:gd name="T80" fmla="*/ 22 w 1234"/>
                    <a:gd name="T81" fmla="*/ 1597 h 1961"/>
                    <a:gd name="T82" fmla="*/ 656 w 1234"/>
                    <a:gd name="T83" fmla="*/ 1553 h 1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234" h="1961">
                      <a:moveTo>
                        <a:pt x="635" y="94"/>
                      </a:moveTo>
                      <a:cubicBezTo>
                        <a:pt x="565" y="94"/>
                        <a:pt x="565" y="94"/>
                        <a:pt x="565" y="94"/>
                      </a:cubicBezTo>
                      <a:cubicBezTo>
                        <a:pt x="549" y="39"/>
                        <a:pt x="498" y="0"/>
                        <a:pt x="439" y="0"/>
                      </a:cubicBezTo>
                      <a:cubicBezTo>
                        <a:pt x="380" y="0"/>
                        <a:pt x="329" y="39"/>
                        <a:pt x="313" y="94"/>
                      </a:cubicBezTo>
                      <a:cubicBezTo>
                        <a:pt x="243" y="94"/>
                        <a:pt x="243" y="94"/>
                        <a:pt x="243" y="94"/>
                      </a:cubicBezTo>
                      <a:cubicBezTo>
                        <a:pt x="237" y="94"/>
                        <a:pt x="233" y="98"/>
                        <a:pt x="233" y="104"/>
                      </a:cubicBezTo>
                      <a:cubicBezTo>
                        <a:pt x="233" y="253"/>
                        <a:pt x="233" y="253"/>
                        <a:pt x="233" y="253"/>
                      </a:cubicBezTo>
                      <a:cubicBezTo>
                        <a:pt x="233" y="265"/>
                        <a:pt x="243" y="275"/>
                        <a:pt x="255" y="275"/>
                      </a:cubicBezTo>
                      <a:cubicBezTo>
                        <a:pt x="623" y="275"/>
                        <a:pt x="623" y="275"/>
                        <a:pt x="623" y="275"/>
                      </a:cubicBezTo>
                      <a:cubicBezTo>
                        <a:pt x="635" y="275"/>
                        <a:pt x="645" y="265"/>
                        <a:pt x="645" y="253"/>
                      </a:cubicBezTo>
                      <a:cubicBezTo>
                        <a:pt x="645" y="104"/>
                        <a:pt x="645" y="104"/>
                        <a:pt x="645" y="104"/>
                      </a:cubicBezTo>
                      <a:cubicBezTo>
                        <a:pt x="645" y="98"/>
                        <a:pt x="641" y="94"/>
                        <a:pt x="635" y="94"/>
                      </a:cubicBezTo>
                      <a:close/>
                      <a:moveTo>
                        <a:pt x="360" y="94"/>
                      </a:moveTo>
                      <a:cubicBezTo>
                        <a:pt x="374" y="64"/>
                        <a:pt x="404" y="44"/>
                        <a:pt x="439" y="44"/>
                      </a:cubicBezTo>
                      <a:cubicBezTo>
                        <a:pt x="474" y="44"/>
                        <a:pt x="504" y="64"/>
                        <a:pt x="518" y="94"/>
                      </a:cubicBezTo>
                      <a:lnTo>
                        <a:pt x="360" y="94"/>
                      </a:lnTo>
                      <a:close/>
                      <a:moveTo>
                        <a:pt x="856" y="623"/>
                      </a:moveTo>
                      <a:cubicBezTo>
                        <a:pt x="22" y="623"/>
                        <a:pt x="22" y="623"/>
                        <a:pt x="22" y="623"/>
                      </a:cubicBezTo>
                      <a:cubicBezTo>
                        <a:pt x="9" y="623"/>
                        <a:pt x="0" y="613"/>
                        <a:pt x="0" y="601"/>
                      </a:cubicBezTo>
                      <a:cubicBezTo>
                        <a:pt x="0" y="589"/>
                        <a:pt x="9" y="579"/>
                        <a:pt x="22" y="579"/>
                      </a:cubicBezTo>
                      <a:cubicBezTo>
                        <a:pt x="856" y="579"/>
                        <a:pt x="856" y="579"/>
                        <a:pt x="856" y="579"/>
                      </a:cubicBezTo>
                      <a:cubicBezTo>
                        <a:pt x="869" y="579"/>
                        <a:pt x="878" y="589"/>
                        <a:pt x="878" y="601"/>
                      </a:cubicBezTo>
                      <a:cubicBezTo>
                        <a:pt x="878" y="613"/>
                        <a:pt x="869" y="623"/>
                        <a:pt x="856" y="623"/>
                      </a:cubicBezTo>
                      <a:close/>
                      <a:moveTo>
                        <a:pt x="878" y="764"/>
                      </a:moveTo>
                      <a:cubicBezTo>
                        <a:pt x="878" y="751"/>
                        <a:pt x="869" y="742"/>
                        <a:pt x="856" y="742"/>
                      </a:cubicBezTo>
                      <a:cubicBezTo>
                        <a:pt x="22" y="742"/>
                        <a:pt x="22" y="742"/>
                        <a:pt x="22" y="742"/>
                      </a:cubicBezTo>
                      <a:cubicBezTo>
                        <a:pt x="9" y="742"/>
                        <a:pt x="0" y="751"/>
                        <a:pt x="0" y="764"/>
                      </a:cubicBezTo>
                      <a:cubicBezTo>
                        <a:pt x="0" y="776"/>
                        <a:pt x="9" y="786"/>
                        <a:pt x="22" y="786"/>
                      </a:cubicBezTo>
                      <a:cubicBezTo>
                        <a:pt x="856" y="786"/>
                        <a:pt x="856" y="786"/>
                        <a:pt x="856" y="786"/>
                      </a:cubicBezTo>
                      <a:cubicBezTo>
                        <a:pt x="869" y="786"/>
                        <a:pt x="878" y="776"/>
                        <a:pt x="878" y="764"/>
                      </a:cubicBezTo>
                      <a:close/>
                      <a:moveTo>
                        <a:pt x="878" y="926"/>
                      </a:moveTo>
                      <a:cubicBezTo>
                        <a:pt x="878" y="914"/>
                        <a:pt x="869" y="904"/>
                        <a:pt x="856" y="904"/>
                      </a:cubicBezTo>
                      <a:cubicBezTo>
                        <a:pt x="22" y="904"/>
                        <a:pt x="22" y="904"/>
                        <a:pt x="22" y="904"/>
                      </a:cubicBezTo>
                      <a:cubicBezTo>
                        <a:pt x="9" y="904"/>
                        <a:pt x="0" y="914"/>
                        <a:pt x="0" y="926"/>
                      </a:cubicBezTo>
                      <a:cubicBezTo>
                        <a:pt x="0" y="938"/>
                        <a:pt x="9" y="948"/>
                        <a:pt x="22" y="948"/>
                      </a:cubicBezTo>
                      <a:cubicBezTo>
                        <a:pt x="856" y="948"/>
                        <a:pt x="856" y="948"/>
                        <a:pt x="856" y="948"/>
                      </a:cubicBezTo>
                      <a:cubicBezTo>
                        <a:pt x="869" y="948"/>
                        <a:pt x="878" y="938"/>
                        <a:pt x="878" y="926"/>
                      </a:cubicBezTo>
                      <a:close/>
                      <a:moveTo>
                        <a:pt x="878" y="1088"/>
                      </a:moveTo>
                      <a:cubicBezTo>
                        <a:pt x="878" y="1076"/>
                        <a:pt x="869" y="1066"/>
                        <a:pt x="856" y="1066"/>
                      </a:cubicBezTo>
                      <a:cubicBezTo>
                        <a:pt x="22" y="1066"/>
                        <a:pt x="22" y="1066"/>
                        <a:pt x="22" y="1066"/>
                      </a:cubicBezTo>
                      <a:cubicBezTo>
                        <a:pt x="9" y="1066"/>
                        <a:pt x="0" y="1076"/>
                        <a:pt x="0" y="1088"/>
                      </a:cubicBezTo>
                      <a:cubicBezTo>
                        <a:pt x="0" y="1100"/>
                        <a:pt x="9" y="1110"/>
                        <a:pt x="22" y="1110"/>
                      </a:cubicBezTo>
                      <a:cubicBezTo>
                        <a:pt x="856" y="1110"/>
                        <a:pt x="856" y="1110"/>
                        <a:pt x="856" y="1110"/>
                      </a:cubicBezTo>
                      <a:cubicBezTo>
                        <a:pt x="869" y="1110"/>
                        <a:pt x="878" y="1100"/>
                        <a:pt x="878" y="1088"/>
                      </a:cubicBezTo>
                      <a:close/>
                      <a:moveTo>
                        <a:pt x="878" y="1250"/>
                      </a:moveTo>
                      <a:cubicBezTo>
                        <a:pt x="878" y="1238"/>
                        <a:pt x="869" y="1228"/>
                        <a:pt x="856" y="1228"/>
                      </a:cubicBezTo>
                      <a:cubicBezTo>
                        <a:pt x="22" y="1228"/>
                        <a:pt x="22" y="1228"/>
                        <a:pt x="22" y="1228"/>
                      </a:cubicBezTo>
                      <a:cubicBezTo>
                        <a:pt x="9" y="1228"/>
                        <a:pt x="0" y="1238"/>
                        <a:pt x="0" y="1250"/>
                      </a:cubicBezTo>
                      <a:cubicBezTo>
                        <a:pt x="0" y="1263"/>
                        <a:pt x="9" y="1272"/>
                        <a:pt x="22" y="1272"/>
                      </a:cubicBezTo>
                      <a:cubicBezTo>
                        <a:pt x="856" y="1272"/>
                        <a:pt x="856" y="1272"/>
                        <a:pt x="856" y="1272"/>
                      </a:cubicBezTo>
                      <a:cubicBezTo>
                        <a:pt x="869" y="1272"/>
                        <a:pt x="878" y="1263"/>
                        <a:pt x="878" y="1250"/>
                      </a:cubicBezTo>
                      <a:close/>
                      <a:moveTo>
                        <a:pt x="1133" y="1504"/>
                      </a:moveTo>
                      <a:cubicBezTo>
                        <a:pt x="1082" y="1451"/>
                        <a:pt x="1013" y="1421"/>
                        <a:pt x="939" y="1421"/>
                      </a:cubicBezTo>
                      <a:cubicBezTo>
                        <a:pt x="869" y="1421"/>
                        <a:pt x="802" y="1448"/>
                        <a:pt x="752" y="1496"/>
                      </a:cubicBezTo>
                      <a:cubicBezTo>
                        <a:pt x="644" y="1600"/>
                        <a:pt x="641" y="1771"/>
                        <a:pt x="744" y="1878"/>
                      </a:cubicBezTo>
                      <a:cubicBezTo>
                        <a:pt x="796" y="1932"/>
                        <a:pt x="865" y="1961"/>
                        <a:pt x="939" y="1961"/>
                      </a:cubicBezTo>
                      <a:cubicBezTo>
                        <a:pt x="998" y="1961"/>
                        <a:pt x="1057" y="1941"/>
                        <a:pt x="1103" y="1905"/>
                      </a:cubicBezTo>
                      <a:cubicBezTo>
                        <a:pt x="1104" y="1904"/>
                        <a:pt x="1104" y="1904"/>
                        <a:pt x="1104" y="1904"/>
                      </a:cubicBezTo>
                      <a:cubicBezTo>
                        <a:pt x="1111" y="1900"/>
                        <a:pt x="1117" y="1894"/>
                        <a:pt x="1126" y="1886"/>
                      </a:cubicBezTo>
                      <a:cubicBezTo>
                        <a:pt x="1134" y="1878"/>
                        <a:pt x="1142" y="1870"/>
                        <a:pt x="1149" y="1861"/>
                      </a:cubicBezTo>
                      <a:cubicBezTo>
                        <a:pt x="1234" y="1756"/>
                        <a:pt x="1228" y="1602"/>
                        <a:pt x="1133" y="1504"/>
                      </a:cubicBezTo>
                      <a:close/>
                      <a:moveTo>
                        <a:pt x="1121" y="1615"/>
                      </a:moveTo>
                      <a:cubicBezTo>
                        <a:pt x="894" y="1832"/>
                        <a:pt x="894" y="1832"/>
                        <a:pt x="894" y="1832"/>
                      </a:cubicBezTo>
                      <a:cubicBezTo>
                        <a:pt x="890" y="1836"/>
                        <a:pt x="885" y="1838"/>
                        <a:pt x="879" y="1838"/>
                      </a:cubicBezTo>
                      <a:cubicBezTo>
                        <a:pt x="874" y="1838"/>
                        <a:pt x="868" y="1836"/>
                        <a:pt x="864" y="1832"/>
                      </a:cubicBezTo>
                      <a:cubicBezTo>
                        <a:pt x="753" y="1721"/>
                        <a:pt x="753" y="1721"/>
                        <a:pt x="753" y="1721"/>
                      </a:cubicBezTo>
                      <a:cubicBezTo>
                        <a:pt x="744" y="1712"/>
                        <a:pt x="744" y="1698"/>
                        <a:pt x="753" y="1690"/>
                      </a:cubicBezTo>
                      <a:cubicBezTo>
                        <a:pt x="761" y="1681"/>
                        <a:pt x="775" y="1681"/>
                        <a:pt x="784" y="1690"/>
                      </a:cubicBezTo>
                      <a:cubicBezTo>
                        <a:pt x="880" y="1786"/>
                        <a:pt x="880" y="1786"/>
                        <a:pt x="880" y="1786"/>
                      </a:cubicBezTo>
                      <a:cubicBezTo>
                        <a:pt x="1091" y="1583"/>
                        <a:pt x="1091" y="1583"/>
                        <a:pt x="1091" y="1583"/>
                      </a:cubicBezTo>
                      <a:cubicBezTo>
                        <a:pt x="1100" y="1575"/>
                        <a:pt x="1114" y="1575"/>
                        <a:pt x="1122" y="1584"/>
                      </a:cubicBezTo>
                      <a:cubicBezTo>
                        <a:pt x="1130" y="1593"/>
                        <a:pt x="1130" y="1607"/>
                        <a:pt x="1121" y="1615"/>
                      </a:cubicBezTo>
                      <a:close/>
                      <a:moveTo>
                        <a:pt x="839" y="1391"/>
                      </a:moveTo>
                      <a:cubicBezTo>
                        <a:pt x="22" y="1391"/>
                        <a:pt x="22" y="1391"/>
                        <a:pt x="22" y="1391"/>
                      </a:cubicBezTo>
                      <a:cubicBezTo>
                        <a:pt x="9" y="1391"/>
                        <a:pt x="0" y="1401"/>
                        <a:pt x="0" y="1413"/>
                      </a:cubicBezTo>
                      <a:cubicBezTo>
                        <a:pt x="0" y="1425"/>
                        <a:pt x="9" y="1435"/>
                        <a:pt x="22" y="1435"/>
                      </a:cubicBezTo>
                      <a:cubicBezTo>
                        <a:pt x="754" y="1435"/>
                        <a:pt x="754" y="1435"/>
                        <a:pt x="754" y="1435"/>
                      </a:cubicBezTo>
                      <a:cubicBezTo>
                        <a:pt x="780" y="1416"/>
                        <a:pt x="808" y="1401"/>
                        <a:pt x="839" y="1391"/>
                      </a:cubicBezTo>
                      <a:close/>
                      <a:moveTo>
                        <a:pt x="656" y="1553"/>
                      </a:moveTo>
                      <a:cubicBezTo>
                        <a:pt x="22" y="1553"/>
                        <a:pt x="22" y="1553"/>
                        <a:pt x="22" y="1553"/>
                      </a:cubicBezTo>
                      <a:cubicBezTo>
                        <a:pt x="9" y="1553"/>
                        <a:pt x="0" y="1563"/>
                        <a:pt x="0" y="1575"/>
                      </a:cubicBezTo>
                      <a:cubicBezTo>
                        <a:pt x="0" y="1587"/>
                        <a:pt x="9" y="1597"/>
                        <a:pt x="22" y="1597"/>
                      </a:cubicBezTo>
                      <a:cubicBezTo>
                        <a:pt x="639" y="1597"/>
                        <a:pt x="639" y="1597"/>
                        <a:pt x="639" y="1597"/>
                      </a:cubicBezTo>
                      <a:cubicBezTo>
                        <a:pt x="643" y="1582"/>
                        <a:pt x="649" y="1567"/>
                        <a:pt x="656" y="1553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39" name="Group 38"/>
          <p:cNvGrpSpPr/>
          <p:nvPr/>
        </p:nvGrpSpPr>
        <p:grpSpPr>
          <a:xfrm>
            <a:off x="10055571" y="3634294"/>
            <a:ext cx="787506" cy="787507"/>
            <a:chOff x="9389230" y="2016209"/>
            <a:chExt cx="1534628" cy="1534629"/>
          </a:xfrm>
        </p:grpSpPr>
        <p:sp>
          <p:nvSpPr>
            <p:cNvPr id="40" name="Oval 39"/>
            <p:cNvSpPr>
              <a:spLocks/>
            </p:cNvSpPr>
            <p:nvPr/>
          </p:nvSpPr>
          <p:spPr>
            <a:xfrm>
              <a:off x="9389230" y="2016209"/>
              <a:ext cx="1534628" cy="1534629"/>
            </a:xfrm>
            <a:prstGeom prst="ellipse">
              <a:avLst/>
            </a:prstGeom>
            <a:solidFill>
              <a:srgbClr val="FFFFFF"/>
            </a:solidFill>
            <a:ln w="6096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24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41" name="Group 40"/>
            <p:cNvGrpSpPr>
              <a:grpSpLocks noChangeAspect="1"/>
            </p:cNvGrpSpPr>
            <p:nvPr/>
          </p:nvGrpSpPr>
          <p:grpSpPr>
            <a:xfrm>
              <a:off x="9526046" y="2153026"/>
              <a:ext cx="1315720" cy="1315720"/>
              <a:chOff x="5273677" y="2606676"/>
              <a:chExt cx="1644651" cy="1644651"/>
            </a:xfrm>
          </p:grpSpPr>
          <p:sp>
            <p:nvSpPr>
              <p:cNvPr id="42" name="AutoShape 16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7" y="2606676"/>
                <a:ext cx="1644651" cy="16446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5541962" y="2881312"/>
                <a:ext cx="1103313" cy="1096963"/>
                <a:chOff x="5541963" y="2881313"/>
                <a:chExt cx="1103313" cy="1096963"/>
              </a:xfrm>
            </p:grpSpPr>
            <p:sp>
              <p:nvSpPr>
                <p:cNvPr id="44" name="Freeform 43"/>
                <p:cNvSpPr>
                  <a:spLocks/>
                </p:cNvSpPr>
                <p:nvPr/>
              </p:nvSpPr>
              <p:spPr bwMode="auto">
                <a:xfrm>
                  <a:off x="5541963" y="2881313"/>
                  <a:ext cx="1103313" cy="1096963"/>
                </a:xfrm>
                <a:custGeom>
                  <a:avLst/>
                  <a:gdLst>
                    <a:gd name="connsiteX0" fmla="*/ 627062 w 1103313"/>
                    <a:gd name="connsiteY0" fmla="*/ 808037 h 1096963"/>
                    <a:gd name="connsiteX1" fmla="*/ 876412 w 1103313"/>
                    <a:gd name="connsiteY1" fmla="*/ 808037 h 1096963"/>
                    <a:gd name="connsiteX2" fmla="*/ 892175 w 1103313"/>
                    <a:gd name="connsiteY2" fmla="*/ 823119 h 1096963"/>
                    <a:gd name="connsiteX3" fmla="*/ 876412 w 1103313"/>
                    <a:gd name="connsiteY3" fmla="*/ 838200 h 1096963"/>
                    <a:gd name="connsiteX4" fmla="*/ 627062 w 1103313"/>
                    <a:gd name="connsiteY4" fmla="*/ 838200 h 1096963"/>
                    <a:gd name="connsiteX5" fmla="*/ 627062 w 1103313"/>
                    <a:gd name="connsiteY5" fmla="*/ 808037 h 1096963"/>
                    <a:gd name="connsiteX6" fmla="*/ 228361 w 1103313"/>
                    <a:gd name="connsiteY6" fmla="*/ 808037 h 1096963"/>
                    <a:gd name="connsiteX7" fmla="*/ 382588 w 1103313"/>
                    <a:gd name="connsiteY7" fmla="*/ 808037 h 1096963"/>
                    <a:gd name="connsiteX8" fmla="*/ 382588 w 1103313"/>
                    <a:gd name="connsiteY8" fmla="*/ 838200 h 1096963"/>
                    <a:gd name="connsiteX9" fmla="*/ 228361 w 1103313"/>
                    <a:gd name="connsiteY9" fmla="*/ 838200 h 1096963"/>
                    <a:gd name="connsiteX10" fmla="*/ 212725 w 1103313"/>
                    <a:gd name="connsiteY10" fmla="*/ 823119 h 1096963"/>
                    <a:gd name="connsiteX11" fmla="*/ 228361 w 1103313"/>
                    <a:gd name="connsiteY11" fmla="*/ 808037 h 1096963"/>
                    <a:gd name="connsiteX12" fmla="*/ 722312 w 1103313"/>
                    <a:gd name="connsiteY12" fmla="*/ 531812 h 1096963"/>
                    <a:gd name="connsiteX13" fmla="*/ 876474 w 1103313"/>
                    <a:gd name="connsiteY13" fmla="*/ 531812 h 1096963"/>
                    <a:gd name="connsiteX14" fmla="*/ 892175 w 1103313"/>
                    <a:gd name="connsiteY14" fmla="*/ 546894 h 1096963"/>
                    <a:gd name="connsiteX15" fmla="*/ 876474 w 1103313"/>
                    <a:gd name="connsiteY15" fmla="*/ 561975 h 1096963"/>
                    <a:gd name="connsiteX16" fmla="*/ 722312 w 1103313"/>
                    <a:gd name="connsiteY16" fmla="*/ 561975 h 1096963"/>
                    <a:gd name="connsiteX17" fmla="*/ 722312 w 1103313"/>
                    <a:gd name="connsiteY17" fmla="*/ 531812 h 1096963"/>
                    <a:gd name="connsiteX18" fmla="*/ 228352 w 1103313"/>
                    <a:gd name="connsiteY18" fmla="*/ 531812 h 1096963"/>
                    <a:gd name="connsiteX19" fmla="*/ 476250 w 1103313"/>
                    <a:gd name="connsiteY19" fmla="*/ 531812 h 1096963"/>
                    <a:gd name="connsiteX20" fmla="*/ 476250 w 1103313"/>
                    <a:gd name="connsiteY20" fmla="*/ 561975 h 1096963"/>
                    <a:gd name="connsiteX21" fmla="*/ 228352 w 1103313"/>
                    <a:gd name="connsiteY21" fmla="*/ 561975 h 1096963"/>
                    <a:gd name="connsiteX22" fmla="*/ 212725 w 1103313"/>
                    <a:gd name="connsiteY22" fmla="*/ 546894 h 1096963"/>
                    <a:gd name="connsiteX23" fmla="*/ 228352 w 1103313"/>
                    <a:gd name="connsiteY23" fmla="*/ 531812 h 1096963"/>
                    <a:gd name="connsiteX24" fmla="*/ 627062 w 1103313"/>
                    <a:gd name="connsiteY24" fmla="*/ 255587 h 1096963"/>
                    <a:gd name="connsiteX25" fmla="*/ 876412 w 1103313"/>
                    <a:gd name="connsiteY25" fmla="*/ 255587 h 1096963"/>
                    <a:gd name="connsiteX26" fmla="*/ 892175 w 1103313"/>
                    <a:gd name="connsiteY26" fmla="*/ 270669 h 1096963"/>
                    <a:gd name="connsiteX27" fmla="*/ 876412 w 1103313"/>
                    <a:gd name="connsiteY27" fmla="*/ 285750 h 1096963"/>
                    <a:gd name="connsiteX28" fmla="*/ 627062 w 1103313"/>
                    <a:gd name="connsiteY28" fmla="*/ 285750 h 1096963"/>
                    <a:gd name="connsiteX29" fmla="*/ 627062 w 1103313"/>
                    <a:gd name="connsiteY29" fmla="*/ 255587 h 1096963"/>
                    <a:gd name="connsiteX30" fmla="*/ 228361 w 1103313"/>
                    <a:gd name="connsiteY30" fmla="*/ 255587 h 1096963"/>
                    <a:gd name="connsiteX31" fmla="*/ 382588 w 1103313"/>
                    <a:gd name="connsiteY31" fmla="*/ 255587 h 1096963"/>
                    <a:gd name="connsiteX32" fmla="*/ 382588 w 1103313"/>
                    <a:gd name="connsiteY32" fmla="*/ 285750 h 1096963"/>
                    <a:gd name="connsiteX33" fmla="*/ 228361 w 1103313"/>
                    <a:gd name="connsiteY33" fmla="*/ 285750 h 1096963"/>
                    <a:gd name="connsiteX34" fmla="*/ 212725 w 1103313"/>
                    <a:gd name="connsiteY34" fmla="*/ 270669 h 1096963"/>
                    <a:gd name="connsiteX35" fmla="*/ 228361 w 1103313"/>
                    <a:gd name="connsiteY35" fmla="*/ 255587 h 1096963"/>
                    <a:gd name="connsiteX36" fmla="*/ 36512 w 1103313"/>
                    <a:gd name="connsiteY36" fmla="*/ 36512 h 1096963"/>
                    <a:gd name="connsiteX37" fmla="*/ 36512 w 1103313"/>
                    <a:gd name="connsiteY37" fmla="*/ 1058862 h 1096963"/>
                    <a:gd name="connsiteX38" fmla="*/ 1066800 w 1103313"/>
                    <a:gd name="connsiteY38" fmla="*/ 1058862 h 1096963"/>
                    <a:gd name="connsiteX39" fmla="*/ 1066800 w 1103313"/>
                    <a:gd name="connsiteY39" fmla="*/ 36512 h 1096963"/>
                    <a:gd name="connsiteX40" fmla="*/ 34234 w 1103313"/>
                    <a:gd name="connsiteY40" fmla="*/ 0 h 1096963"/>
                    <a:gd name="connsiteX41" fmla="*/ 1069080 w 1103313"/>
                    <a:gd name="connsiteY41" fmla="*/ 0 h 1096963"/>
                    <a:gd name="connsiteX42" fmla="*/ 1103313 w 1103313"/>
                    <a:gd name="connsiteY42" fmla="*/ 34258 h 1096963"/>
                    <a:gd name="connsiteX43" fmla="*/ 1103313 w 1103313"/>
                    <a:gd name="connsiteY43" fmla="*/ 1062705 h 1096963"/>
                    <a:gd name="connsiteX44" fmla="*/ 1069080 w 1103313"/>
                    <a:gd name="connsiteY44" fmla="*/ 1096963 h 1096963"/>
                    <a:gd name="connsiteX45" fmla="*/ 34234 w 1103313"/>
                    <a:gd name="connsiteY45" fmla="*/ 1096963 h 1096963"/>
                    <a:gd name="connsiteX46" fmla="*/ 0 w 1103313"/>
                    <a:gd name="connsiteY46" fmla="*/ 1062705 h 1096963"/>
                    <a:gd name="connsiteX47" fmla="*/ 0 w 1103313"/>
                    <a:gd name="connsiteY47" fmla="*/ 34258 h 1096963"/>
                    <a:gd name="connsiteX48" fmla="*/ 34234 w 1103313"/>
                    <a:gd name="connsiteY48" fmla="*/ 0 h 1096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1103313" h="1096963">
                      <a:moveTo>
                        <a:pt x="627062" y="808037"/>
                      </a:moveTo>
                      <a:cubicBezTo>
                        <a:pt x="627062" y="808037"/>
                        <a:pt x="627062" y="808037"/>
                        <a:pt x="876412" y="808037"/>
                      </a:cubicBezTo>
                      <a:cubicBezTo>
                        <a:pt x="885010" y="808037"/>
                        <a:pt x="892175" y="814892"/>
                        <a:pt x="892175" y="823119"/>
                      </a:cubicBezTo>
                      <a:cubicBezTo>
                        <a:pt x="892175" y="832030"/>
                        <a:pt x="885010" y="838200"/>
                        <a:pt x="876412" y="838200"/>
                      </a:cubicBezTo>
                      <a:cubicBezTo>
                        <a:pt x="876412" y="838200"/>
                        <a:pt x="876412" y="838200"/>
                        <a:pt x="627062" y="838200"/>
                      </a:cubicBezTo>
                      <a:cubicBezTo>
                        <a:pt x="627062" y="838200"/>
                        <a:pt x="627062" y="838200"/>
                        <a:pt x="627062" y="808037"/>
                      </a:cubicBezTo>
                      <a:close/>
                      <a:moveTo>
                        <a:pt x="228361" y="808037"/>
                      </a:moveTo>
                      <a:cubicBezTo>
                        <a:pt x="228361" y="808037"/>
                        <a:pt x="228361" y="808037"/>
                        <a:pt x="382588" y="808037"/>
                      </a:cubicBezTo>
                      <a:cubicBezTo>
                        <a:pt x="382588" y="808037"/>
                        <a:pt x="382588" y="808037"/>
                        <a:pt x="382588" y="838200"/>
                      </a:cubicBezTo>
                      <a:cubicBezTo>
                        <a:pt x="382588" y="838200"/>
                        <a:pt x="382588" y="838200"/>
                        <a:pt x="228361" y="838200"/>
                      </a:cubicBezTo>
                      <a:cubicBezTo>
                        <a:pt x="219832" y="838200"/>
                        <a:pt x="212725" y="832030"/>
                        <a:pt x="212725" y="823119"/>
                      </a:cubicBezTo>
                      <a:cubicBezTo>
                        <a:pt x="212725" y="814892"/>
                        <a:pt x="219832" y="808037"/>
                        <a:pt x="228361" y="808037"/>
                      </a:cubicBezTo>
                      <a:close/>
                      <a:moveTo>
                        <a:pt x="722312" y="531812"/>
                      </a:moveTo>
                      <a:cubicBezTo>
                        <a:pt x="722312" y="531812"/>
                        <a:pt x="722312" y="531812"/>
                        <a:pt x="876474" y="531812"/>
                      </a:cubicBezTo>
                      <a:cubicBezTo>
                        <a:pt x="885038" y="531812"/>
                        <a:pt x="892175" y="538667"/>
                        <a:pt x="892175" y="546894"/>
                      </a:cubicBezTo>
                      <a:cubicBezTo>
                        <a:pt x="892175" y="555805"/>
                        <a:pt x="885038" y="561975"/>
                        <a:pt x="876474" y="561975"/>
                      </a:cubicBezTo>
                      <a:cubicBezTo>
                        <a:pt x="876474" y="561975"/>
                        <a:pt x="876474" y="561975"/>
                        <a:pt x="722312" y="561975"/>
                      </a:cubicBezTo>
                      <a:cubicBezTo>
                        <a:pt x="722312" y="561975"/>
                        <a:pt x="722312" y="561975"/>
                        <a:pt x="722312" y="531812"/>
                      </a:cubicBezTo>
                      <a:close/>
                      <a:moveTo>
                        <a:pt x="228352" y="531812"/>
                      </a:moveTo>
                      <a:cubicBezTo>
                        <a:pt x="228352" y="531812"/>
                        <a:pt x="228352" y="531812"/>
                        <a:pt x="476250" y="531812"/>
                      </a:cubicBezTo>
                      <a:cubicBezTo>
                        <a:pt x="476250" y="531812"/>
                        <a:pt x="476250" y="531812"/>
                        <a:pt x="476250" y="561975"/>
                      </a:cubicBezTo>
                      <a:cubicBezTo>
                        <a:pt x="476250" y="561975"/>
                        <a:pt x="476250" y="561975"/>
                        <a:pt x="228352" y="561975"/>
                      </a:cubicBezTo>
                      <a:cubicBezTo>
                        <a:pt x="219828" y="561975"/>
                        <a:pt x="212725" y="555805"/>
                        <a:pt x="212725" y="546894"/>
                      </a:cubicBezTo>
                      <a:cubicBezTo>
                        <a:pt x="212725" y="538667"/>
                        <a:pt x="219828" y="531812"/>
                        <a:pt x="228352" y="531812"/>
                      </a:cubicBezTo>
                      <a:close/>
                      <a:moveTo>
                        <a:pt x="627062" y="255587"/>
                      </a:moveTo>
                      <a:cubicBezTo>
                        <a:pt x="627062" y="255587"/>
                        <a:pt x="627062" y="255587"/>
                        <a:pt x="876412" y="255587"/>
                      </a:cubicBezTo>
                      <a:cubicBezTo>
                        <a:pt x="885010" y="255587"/>
                        <a:pt x="892175" y="262442"/>
                        <a:pt x="892175" y="270669"/>
                      </a:cubicBezTo>
                      <a:cubicBezTo>
                        <a:pt x="892175" y="279580"/>
                        <a:pt x="885010" y="285750"/>
                        <a:pt x="876412" y="285750"/>
                      </a:cubicBezTo>
                      <a:cubicBezTo>
                        <a:pt x="876412" y="285750"/>
                        <a:pt x="876412" y="285750"/>
                        <a:pt x="627062" y="285750"/>
                      </a:cubicBezTo>
                      <a:cubicBezTo>
                        <a:pt x="627062" y="285750"/>
                        <a:pt x="627062" y="285750"/>
                        <a:pt x="627062" y="255587"/>
                      </a:cubicBezTo>
                      <a:close/>
                      <a:moveTo>
                        <a:pt x="228361" y="255587"/>
                      </a:moveTo>
                      <a:cubicBezTo>
                        <a:pt x="228361" y="255587"/>
                        <a:pt x="228361" y="255587"/>
                        <a:pt x="382588" y="255587"/>
                      </a:cubicBezTo>
                      <a:cubicBezTo>
                        <a:pt x="382588" y="255587"/>
                        <a:pt x="382588" y="255587"/>
                        <a:pt x="382588" y="285750"/>
                      </a:cubicBezTo>
                      <a:cubicBezTo>
                        <a:pt x="382588" y="285750"/>
                        <a:pt x="382588" y="285750"/>
                        <a:pt x="228361" y="285750"/>
                      </a:cubicBezTo>
                      <a:cubicBezTo>
                        <a:pt x="219832" y="285750"/>
                        <a:pt x="212725" y="279580"/>
                        <a:pt x="212725" y="270669"/>
                      </a:cubicBezTo>
                      <a:cubicBezTo>
                        <a:pt x="212725" y="262442"/>
                        <a:pt x="219832" y="255587"/>
                        <a:pt x="228361" y="255587"/>
                      </a:cubicBezTo>
                      <a:close/>
                      <a:moveTo>
                        <a:pt x="36512" y="36512"/>
                      </a:moveTo>
                      <a:lnTo>
                        <a:pt x="36512" y="1058862"/>
                      </a:lnTo>
                      <a:lnTo>
                        <a:pt x="1066800" y="1058862"/>
                      </a:lnTo>
                      <a:lnTo>
                        <a:pt x="1066800" y="36512"/>
                      </a:lnTo>
                      <a:close/>
                      <a:moveTo>
                        <a:pt x="34234" y="0"/>
                      </a:moveTo>
                      <a:cubicBezTo>
                        <a:pt x="34234" y="0"/>
                        <a:pt x="34234" y="0"/>
                        <a:pt x="1069080" y="0"/>
                      </a:cubicBezTo>
                      <a:cubicBezTo>
                        <a:pt x="1087623" y="0"/>
                        <a:pt x="1103313" y="15702"/>
                        <a:pt x="1103313" y="34258"/>
                      </a:cubicBezTo>
                      <a:cubicBezTo>
                        <a:pt x="1103313" y="34258"/>
                        <a:pt x="1103313" y="34258"/>
                        <a:pt x="1103313" y="1062705"/>
                      </a:cubicBezTo>
                      <a:cubicBezTo>
                        <a:pt x="1103313" y="1081975"/>
                        <a:pt x="1087623" y="1096963"/>
                        <a:pt x="1069080" y="1096963"/>
                      </a:cubicBezTo>
                      <a:cubicBezTo>
                        <a:pt x="1069080" y="1096963"/>
                        <a:pt x="1069080" y="1096963"/>
                        <a:pt x="34234" y="1096963"/>
                      </a:cubicBezTo>
                      <a:cubicBezTo>
                        <a:pt x="15691" y="1096963"/>
                        <a:pt x="0" y="1081975"/>
                        <a:pt x="0" y="1062705"/>
                      </a:cubicBezTo>
                      <a:cubicBezTo>
                        <a:pt x="0" y="1062705"/>
                        <a:pt x="0" y="1062705"/>
                        <a:pt x="0" y="34258"/>
                      </a:cubicBezTo>
                      <a:cubicBezTo>
                        <a:pt x="0" y="15702"/>
                        <a:pt x="15691" y="0"/>
                        <a:pt x="34234" y="0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44"/>
                <p:cNvSpPr>
                  <a:spLocks/>
                </p:cNvSpPr>
                <p:nvPr/>
              </p:nvSpPr>
              <p:spPr bwMode="auto">
                <a:xfrm>
                  <a:off x="5956299" y="3060700"/>
                  <a:ext cx="276226" cy="735013"/>
                </a:xfrm>
                <a:custGeom>
                  <a:avLst/>
                  <a:gdLst>
                    <a:gd name="connsiteX0" fmla="*/ 15751 w 276226"/>
                    <a:gd name="connsiteY0" fmla="*/ 552450 h 735013"/>
                    <a:gd name="connsiteX1" fmla="*/ 166813 w 276226"/>
                    <a:gd name="connsiteY1" fmla="*/ 552450 h 735013"/>
                    <a:gd name="connsiteX2" fmla="*/ 182563 w 276226"/>
                    <a:gd name="connsiteY2" fmla="*/ 568201 h 735013"/>
                    <a:gd name="connsiteX3" fmla="*/ 182563 w 276226"/>
                    <a:gd name="connsiteY3" fmla="*/ 627623 h 735013"/>
                    <a:gd name="connsiteX4" fmla="*/ 182563 w 276226"/>
                    <a:gd name="connsiteY4" fmla="*/ 659124 h 735013"/>
                    <a:gd name="connsiteX5" fmla="*/ 182563 w 276226"/>
                    <a:gd name="connsiteY5" fmla="*/ 719263 h 735013"/>
                    <a:gd name="connsiteX6" fmla="*/ 166813 w 276226"/>
                    <a:gd name="connsiteY6" fmla="*/ 735013 h 735013"/>
                    <a:gd name="connsiteX7" fmla="*/ 15751 w 276226"/>
                    <a:gd name="connsiteY7" fmla="*/ 735013 h 735013"/>
                    <a:gd name="connsiteX8" fmla="*/ 0 w 276226"/>
                    <a:gd name="connsiteY8" fmla="*/ 719263 h 735013"/>
                    <a:gd name="connsiteX9" fmla="*/ 0 w 276226"/>
                    <a:gd name="connsiteY9" fmla="*/ 659124 h 735013"/>
                    <a:gd name="connsiteX10" fmla="*/ 0 w 276226"/>
                    <a:gd name="connsiteY10" fmla="*/ 627623 h 735013"/>
                    <a:gd name="connsiteX11" fmla="*/ 0 w 276226"/>
                    <a:gd name="connsiteY11" fmla="*/ 568201 h 735013"/>
                    <a:gd name="connsiteX12" fmla="*/ 15751 w 276226"/>
                    <a:gd name="connsiteY12" fmla="*/ 552450 h 735013"/>
                    <a:gd name="connsiteX13" fmla="*/ 109414 w 276226"/>
                    <a:gd name="connsiteY13" fmla="*/ 276225 h 735013"/>
                    <a:gd name="connsiteX14" fmla="*/ 260476 w 276226"/>
                    <a:gd name="connsiteY14" fmla="*/ 276225 h 735013"/>
                    <a:gd name="connsiteX15" fmla="*/ 276226 w 276226"/>
                    <a:gd name="connsiteY15" fmla="*/ 291976 h 735013"/>
                    <a:gd name="connsiteX16" fmla="*/ 276226 w 276226"/>
                    <a:gd name="connsiteY16" fmla="*/ 351398 h 735013"/>
                    <a:gd name="connsiteX17" fmla="*/ 276226 w 276226"/>
                    <a:gd name="connsiteY17" fmla="*/ 382899 h 735013"/>
                    <a:gd name="connsiteX18" fmla="*/ 276226 w 276226"/>
                    <a:gd name="connsiteY18" fmla="*/ 443038 h 735013"/>
                    <a:gd name="connsiteX19" fmla="*/ 260476 w 276226"/>
                    <a:gd name="connsiteY19" fmla="*/ 458788 h 735013"/>
                    <a:gd name="connsiteX20" fmla="*/ 109414 w 276226"/>
                    <a:gd name="connsiteY20" fmla="*/ 458788 h 735013"/>
                    <a:gd name="connsiteX21" fmla="*/ 93663 w 276226"/>
                    <a:gd name="connsiteY21" fmla="*/ 443038 h 735013"/>
                    <a:gd name="connsiteX22" fmla="*/ 93663 w 276226"/>
                    <a:gd name="connsiteY22" fmla="*/ 382899 h 735013"/>
                    <a:gd name="connsiteX23" fmla="*/ 93663 w 276226"/>
                    <a:gd name="connsiteY23" fmla="*/ 351398 h 735013"/>
                    <a:gd name="connsiteX24" fmla="*/ 93663 w 276226"/>
                    <a:gd name="connsiteY24" fmla="*/ 291976 h 735013"/>
                    <a:gd name="connsiteX25" fmla="*/ 109414 w 276226"/>
                    <a:gd name="connsiteY25" fmla="*/ 276225 h 735013"/>
                    <a:gd name="connsiteX26" fmla="*/ 15751 w 276226"/>
                    <a:gd name="connsiteY26" fmla="*/ 0 h 735013"/>
                    <a:gd name="connsiteX27" fmla="*/ 166813 w 276226"/>
                    <a:gd name="connsiteY27" fmla="*/ 0 h 735013"/>
                    <a:gd name="connsiteX28" fmla="*/ 182563 w 276226"/>
                    <a:gd name="connsiteY28" fmla="*/ 15751 h 735013"/>
                    <a:gd name="connsiteX29" fmla="*/ 182563 w 276226"/>
                    <a:gd name="connsiteY29" fmla="*/ 75173 h 735013"/>
                    <a:gd name="connsiteX30" fmla="*/ 182563 w 276226"/>
                    <a:gd name="connsiteY30" fmla="*/ 106674 h 735013"/>
                    <a:gd name="connsiteX31" fmla="*/ 182563 w 276226"/>
                    <a:gd name="connsiteY31" fmla="*/ 166813 h 735013"/>
                    <a:gd name="connsiteX32" fmla="*/ 166813 w 276226"/>
                    <a:gd name="connsiteY32" fmla="*/ 182563 h 735013"/>
                    <a:gd name="connsiteX33" fmla="*/ 15751 w 276226"/>
                    <a:gd name="connsiteY33" fmla="*/ 182563 h 735013"/>
                    <a:gd name="connsiteX34" fmla="*/ 0 w 276226"/>
                    <a:gd name="connsiteY34" fmla="*/ 166813 h 735013"/>
                    <a:gd name="connsiteX35" fmla="*/ 0 w 276226"/>
                    <a:gd name="connsiteY35" fmla="*/ 106674 h 735013"/>
                    <a:gd name="connsiteX36" fmla="*/ 0 w 276226"/>
                    <a:gd name="connsiteY36" fmla="*/ 75173 h 735013"/>
                    <a:gd name="connsiteX37" fmla="*/ 0 w 276226"/>
                    <a:gd name="connsiteY37" fmla="*/ 15751 h 735013"/>
                    <a:gd name="connsiteX38" fmla="*/ 15751 w 276226"/>
                    <a:gd name="connsiteY38" fmla="*/ 0 h 735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276226" h="735013">
                      <a:moveTo>
                        <a:pt x="15751" y="552450"/>
                      </a:moveTo>
                      <a:cubicBezTo>
                        <a:pt x="15751" y="552450"/>
                        <a:pt x="15751" y="552450"/>
                        <a:pt x="166813" y="552450"/>
                      </a:cubicBezTo>
                      <a:cubicBezTo>
                        <a:pt x="175404" y="552450"/>
                        <a:pt x="182563" y="559609"/>
                        <a:pt x="182563" y="568201"/>
                      </a:cubicBezTo>
                      <a:cubicBezTo>
                        <a:pt x="182563" y="568201"/>
                        <a:pt x="182563" y="568201"/>
                        <a:pt x="182563" y="627623"/>
                      </a:cubicBezTo>
                      <a:cubicBezTo>
                        <a:pt x="182563" y="627623"/>
                        <a:pt x="182563" y="627623"/>
                        <a:pt x="182563" y="659124"/>
                      </a:cubicBezTo>
                      <a:cubicBezTo>
                        <a:pt x="182563" y="659124"/>
                        <a:pt x="182563" y="659124"/>
                        <a:pt x="182563" y="719263"/>
                      </a:cubicBezTo>
                      <a:cubicBezTo>
                        <a:pt x="182563" y="727854"/>
                        <a:pt x="175404" y="735013"/>
                        <a:pt x="166813" y="735013"/>
                      </a:cubicBezTo>
                      <a:cubicBezTo>
                        <a:pt x="166813" y="735013"/>
                        <a:pt x="166813" y="735013"/>
                        <a:pt x="15751" y="735013"/>
                      </a:cubicBezTo>
                      <a:cubicBezTo>
                        <a:pt x="6444" y="735013"/>
                        <a:pt x="0" y="727854"/>
                        <a:pt x="0" y="719263"/>
                      </a:cubicBezTo>
                      <a:cubicBezTo>
                        <a:pt x="0" y="719263"/>
                        <a:pt x="0" y="719263"/>
                        <a:pt x="0" y="659124"/>
                      </a:cubicBezTo>
                      <a:cubicBezTo>
                        <a:pt x="0" y="659124"/>
                        <a:pt x="0" y="659124"/>
                        <a:pt x="0" y="627623"/>
                      </a:cubicBezTo>
                      <a:cubicBezTo>
                        <a:pt x="0" y="627623"/>
                        <a:pt x="0" y="627623"/>
                        <a:pt x="0" y="568201"/>
                      </a:cubicBezTo>
                      <a:cubicBezTo>
                        <a:pt x="0" y="559609"/>
                        <a:pt x="6444" y="552450"/>
                        <a:pt x="15751" y="552450"/>
                      </a:cubicBezTo>
                      <a:close/>
                      <a:moveTo>
                        <a:pt x="109414" y="276225"/>
                      </a:moveTo>
                      <a:cubicBezTo>
                        <a:pt x="109414" y="276225"/>
                        <a:pt x="109414" y="276225"/>
                        <a:pt x="260476" y="276225"/>
                      </a:cubicBezTo>
                      <a:cubicBezTo>
                        <a:pt x="269067" y="276225"/>
                        <a:pt x="276226" y="283384"/>
                        <a:pt x="276226" y="291976"/>
                      </a:cubicBezTo>
                      <a:cubicBezTo>
                        <a:pt x="276226" y="291976"/>
                        <a:pt x="276226" y="291976"/>
                        <a:pt x="276226" y="351398"/>
                      </a:cubicBezTo>
                      <a:cubicBezTo>
                        <a:pt x="276226" y="351398"/>
                        <a:pt x="276226" y="351398"/>
                        <a:pt x="276226" y="382899"/>
                      </a:cubicBezTo>
                      <a:cubicBezTo>
                        <a:pt x="276226" y="382899"/>
                        <a:pt x="276226" y="382899"/>
                        <a:pt x="276226" y="443038"/>
                      </a:cubicBezTo>
                      <a:cubicBezTo>
                        <a:pt x="276226" y="451629"/>
                        <a:pt x="269067" y="458788"/>
                        <a:pt x="260476" y="458788"/>
                      </a:cubicBezTo>
                      <a:cubicBezTo>
                        <a:pt x="260476" y="458788"/>
                        <a:pt x="260476" y="458788"/>
                        <a:pt x="109414" y="458788"/>
                      </a:cubicBezTo>
                      <a:cubicBezTo>
                        <a:pt x="100107" y="458788"/>
                        <a:pt x="93663" y="451629"/>
                        <a:pt x="93663" y="443038"/>
                      </a:cubicBezTo>
                      <a:cubicBezTo>
                        <a:pt x="93663" y="443038"/>
                        <a:pt x="93663" y="443038"/>
                        <a:pt x="93663" y="382899"/>
                      </a:cubicBezTo>
                      <a:cubicBezTo>
                        <a:pt x="93663" y="382899"/>
                        <a:pt x="93663" y="382899"/>
                        <a:pt x="93663" y="351398"/>
                      </a:cubicBezTo>
                      <a:cubicBezTo>
                        <a:pt x="93663" y="351398"/>
                        <a:pt x="93663" y="351398"/>
                        <a:pt x="93663" y="291976"/>
                      </a:cubicBezTo>
                      <a:cubicBezTo>
                        <a:pt x="93663" y="283384"/>
                        <a:pt x="100107" y="276225"/>
                        <a:pt x="109414" y="276225"/>
                      </a:cubicBezTo>
                      <a:close/>
                      <a:moveTo>
                        <a:pt x="15751" y="0"/>
                      </a:moveTo>
                      <a:cubicBezTo>
                        <a:pt x="15751" y="0"/>
                        <a:pt x="15751" y="0"/>
                        <a:pt x="166813" y="0"/>
                      </a:cubicBezTo>
                      <a:cubicBezTo>
                        <a:pt x="175404" y="0"/>
                        <a:pt x="182563" y="7159"/>
                        <a:pt x="182563" y="15751"/>
                      </a:cubicBezTo>
                      <a:cubicBezTo>
                        <a:pt x="182563" y="15751"/>
                        <a:pt x="182563" y="15751"/>
                        <a:pt x="182563" y="75173"/>
                      </a:cubicBezTo>
                      <a:cubicBezTo>
                        <a:pt x="182563" y="75173"/>
                        <a:pt x="182563" y="75173"/>
                        <a:pt x="182563" y="106674"/>
                      </a:cubicBezTo>
                      <a:cubicBezTo>
                        <a:pt x="182563" y="106674"/>
                        <a:pt x="182563" y="106674"/>
                        <a:pt x="182563" y="166813"/>
                      </a:cubicBezTo>
                      <a:cubicBezTo>
                        <a:pt x="182563" y="175404"/>
                        <a:pt x="175404" y="182563"/>
                        <a:pt x="166813" y="182563"/>
                      </a:cubicBezTo>
                      <a:cubicBezTo>
                        <a:pt x="166813" y="182563"/>
                        <a:pt x="166813" y="182563"/>
                        <a:pt x="15751" y="182563"/>
                      </a:cubicBezTo>
                      <a:cubicBezTo>
                        <a:pt x="6444" y="182563"/>
                        <a:pt x="0" y="175404"/>
                        <a:pt x="0" y="166813"/>
                      </a:cubicBezTo>
                      <a:cubicBezTo>
                        <a:pt x="0" y="166813"/>
                        <a:pt x="0" y="166813"/>
                        <a:pt x="0" y="106674"/>
                      </a:cubicBezTo>
                      <a:cubicBezTo>
                        <a:pt x="0" y="106674"/>
                        <a:pt x="0" y="106674"/>
                        <a:pt x="0" y="75173"/>
                      </a:cubicBezTo>
                      <a:cubicBezTo>
                        <a:pt x="0" y="75173"/>
                        <a:pt x="0" y="75173"/>
                        <a:pt x="0" y="15751"/>
                      </a:cubicBezTo>
                      <a:cubicBezTo>
                        <a:pt x="0" y="7159"/>
                        <a:pt x="6444" y="0"/>
                        <a:pt x="15751" y="0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46" name="Group 45"/>
          <p:cNvGrpSpPr/>
          <p:nvPr/>
        </p:nvGrpSpPr>
        <p:grpSpPr>
          <a:xfrm>
            <a:off x="7250463" y="3634294"/>
            <a:ext cx="787506" cy="787507"/>
            <a:chOff x="6584232" y="2016209"/>
            <a:chExt cx="1534628" cy="1534629"/>
          </a:xfrm>
        </p:grpSpPr>
        <p:sp>
          <p:nvSpPr>
            <p:cNvPr id="47" name="Oval 46"/>
            <p:cNvSpPr>
              <a:spLocks/>
            </p:cNvSpPr>
            <p:nvPr/>
          </p:nvSpPr>
          <p:spPr>
            <a:xfrm>
              <a:off x="6584232" y="2016209"/>
              <a:ext cx="1534628" cy="1534629"/>
            </a:xfrm>
            <a:prstGeom prst="ellipse">
              <a:avLst/>
            </a:prstGeom>
            <a:solidFill>
              <a:srgbClr val="FFFFFF"/>
            </a:solidFill>
            <a:ln w="6096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24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6721049" y="2153026"/>
              <a:ext cx="1315720" cy="1315720"/>
              <a:chOff x="5273675" y="2606677"/>
              <a:chExt cx="1644650" cy="1644651"/>
            </a:xfrm>
          </p:grpSpPr>
          <p:sp>
            <p:nvSpPr>
              <p:cNvPr id="49" name="AutoShape 10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7"/>
                <a:ext cx="1644650" cy="16446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50" name="Group 49"/>
              <p:cNvGrpSpPr/>
              <p:nvPr/>
            </p:nvGrpSpPr>
            <p:grpSpPr>
              <a:xfrm>
                <a:off x="5540374" y="2925762"/>
                <a:ext cx="1109820" cy="976313"/>
                <a:chOff x="5540374" y="2925763"/>
                <a:chExt cx="1109820" cy="976312"/>
              </a:xfrm>
            </p:grpSpPr>
            <p:sp>
              <p:nvSpPr>
                <p:cNvPr id="51" name="Freeform 50"/>
                <p:cNvSpPr>
                  <a:spLocks/>
                </p:cNvSpPr>
                <p:nvPr/>
              </p:nvSpPr>
              <p:spPr bwMode="auto">
                <a:xfrm>
                  <a:off x="5540374" y="2925763"/>
                  <a:ext cx="1109820" cy="976312"/>
                </a:xfrm>
                <a:custGeom>
                  <a:avLst/>
                  <a:gdLst>
                    <a:gd name="connsiteX0" fmla="*/ 392516 w 1109820"/>
                    <a:gd name="connsiteY0" fmla="*/ 496887 h 976312"/>
                    <a:gd name="connsiteX1" fmla="*/ 322644 w 1109820"/>
                    <a:gd name="connsiteY1" fmla="*/ 515424 h 976312"/>
                    <a:gd name="connsiteX2" fmla="*/ 321931 w 1109820"/>
                    <a:gd name="connsiteY2" fmla="*/ 515424 h 976312"/>
                    <a:gd name="connsiteX3" fmla="*/ 31750 w 1109820"/>
                    <a:gd name="connsiteY3" fmla="*/ 680832 h 976312"/>
                    <a:gd name="connsiteX4" fmla="*/ 31750 w 1109820"/>
                    <a:gd name="connsiteY4" fmla="*/ 938212 h 976312"/>
                    <a:gd name="connsiteX5" fmla="*/ 331913 w 1109820"/>
                    <a:gd name="connsiteY5" fmla="*/ 821999 h 976312"/>
                    <a:gd name="connsiteX6" fmla="*/ 416757 w 1109820"/>
                    <a:gd name="connsiteY6" fmla="*/ 806314 h 976312"/>
                    <a:gd name="connsiteX7" fmla="*/ 433868 w 1109820"/>
                    <a:gd name="connsiteY7" fmla="*/ 807027 h 976312"/>
                    <a:gd name="connsiteX8" fmla="*/ 553648 w 1109820"/>
                    <a:gd name="connsiteY8" fmla="*/ 815582 h 976312"/>
                    <a:gd name="connsiteX9" fmla="*/ 600704 w 1109820"/>
                    <a:gd name="connsiteY9" fmla="*/ 817008 h 976312"/>
                    <a:gd name="connsiteX10" fmla="*/ 797485 w 1109820"/>
                    <a:gd name="connsiteY10" fmla="*/ 787064 h 976312"/>
                    <a:gd name="connsiteX11" fmla="*/ 810319 w 1109820"/>
                    <a:gd name="connsiteY11" fmla="*/ 783499 h 976312"/>
                    <a:gd name="connsiteX12" fmla="*/ 996405 w 1109820"/>
                    <a:gd name="connsiteY12" fmla="*/ 670850 h 976312"/>
                    <a:gd name="connsiteX13" fmla="*/ 1022785 w 1109820"/>
                    <a:gd name="connsiteY13" fmla="*/ 642332 h 976312"/>
                    <a:gd name="connsiteX14" fmla="*/ 1046313 w 1109820"/>
                    <a:gd name="connsiteY14" fmla="*/ 614526 h 976312"/>
                    <a:gd name="connsiteX15" fmla="*/ 1069129 w 1109820"/>
                    <a:gd name="connsiteY15" fmla="*/ 587434 h 976312"/>
                    <a:gd name="connsiteX16" fmla="*/ 1065564 w 1109820"/>
                    <a:gd name="connsiteY16" fmla="*/ 533961 h 976312"/>
                    <a:gd name="connsiteX17" fmla="*/ 1046313 w 1109820"/>
                    <a:gd name="connsiteY17" fmla="*/ 523980 h 976312"/>
                    <a:gd name="connsiteX18" fmla="*/ 1039897 w 1109820"/>
                    <a:gd name="connsiteY18" fmla="*/ 523980 h 976312"/>
                    <a:gd name="connsiteX19" fmla="*/ 1010665 w 1109820"/>
                    <a:gd name="connsiteY19" fmla="*/ 536813 h 976312"/>
                    <a:gd name="connsiteX20" fmla="*/ 962182 w 1109820"/>
                    <a:gd name="connsiteY20" fmla="*/ 590998 h 976312"/>
                    <a:gd name="connsiteX21" fmla="*/ 855949 w 1109820"/>
                    <a:gd name="connsiteY21" fmla="*/ 670850 h 976312"/>
                    <a:gd name="connsiteX22" fmla="*/ 806041 w 1109820"/>
                    <a:gd name="connsiteY22" fmla="*/ 688675 h 976312"/>
                    <a:gd name="connsiteX23" fmla="*/ 799624 w 1109820"/>
                    <a:gd name="connsiteY23" fmla="*/ 690813 h 976312"/>
                    <a:gd name="connsiteX24" fmla="*/ 716919 w 1109820"/>
                    <a:gd name="connsiteY24" fmla="*/ 702221 h 976312"/>
                    <a:gd name="connsiteX25" fmla="*/ 602843 w 1109820"/>
                    <a:gd name="connsiteY25" fmla="*/ 680119 h 976312"/>
                    <a:gd name="connsiteX26" fmla="*/ 580028 w 1109820"/>
                    <a:gd name="connsiteY26" fmla="*/ 670850 h 976312"/>
                    <a:gd name="connsiteX27" fmla="*/ 577889 w 1109820"/>
                    <a:gd name="connsiteY27" fmla="*/ 669425 h 976312"/>
                    <a:gd name="connsiteX28" fmla="*/ 552222 w 1109820"/>
                    <a:gd name="connsiteY28" fmla="*/ 625934 h 976312"/>
                    <a:gd name="connsiteX29" fmla="*/ 589297 w 1109820"/>
                    <a:gd name="connsiteY29" fmla="*/ 590285 h 976312"/>
                    <a:gd name="connsiteX30" fmla="*/ 709789 w 1109820"/>
                    <a:gd name="connsiteY30" fmla="*/ 578878 h 976312"/>
                    <a:gd name="connsiteX31" fmla="*/ 739734 w 1109820"/>
                    <a:gd name="connsiteY31" fmla="*/ 546082 h 976312"/>
                    <a:gd name="connsiteX32" fmla="*/ 708363 w 1109820"/>
                    <a:gd name="connsiteY32" fmla="*/ 512572 h 976312"/>
                    <a:gd name="connsiteX33" fmla="*/ 399645 w 1109820"/>
                    <a:gd name="connsiteY33" fmla="*/ 496887 h 976312"/>
                    <a:gd name="connsiteX34" fmla="*/ 392516 w 1109820"/>
                    <a:gd name="connsiteY34" fmla="*/ 496887 h 976312"/>
                    <a:gd name="connsiteX35" fmla="*/ 392266 w 1109820"/>
                    <a:gd name="connsiteY35" fmla="*/ 465137 h 976312"/>
                    <a:gd name="connsiteX36" fmla="*/ 400824 w 1109820"/>
                    <a:gd name="connsiteY36" fmla="*/ 465137 h 976312"/>
                    <a:gd name="connsiteX37" fmla="*/ 709644 w 1109820"/>
                    <a:gd name="connsiteY37" fmla="*/ 480822 h 976312"/>
                    <a:gd name="connsiteX38" fmla="*/ 770980 w 1109820"/>
                    <a:gd name="connsiteY38" fmla="*/ 545699 h 976312"/>
                    <a:gd name="connsiteX39" fmla="*/ 712497 w 1109820"/>
                    <a:gd name="connsiteY39" fmla="*/ 609863 h 976312"/>
                    <a:gd name="connsiteX40" fmla="*/ 591964 w 1109820"/>
                    <a:gd name="connsiteY40" fmla="*/ 621270 h 976312"/>
                    <a:gd name="connsiteX41" fmla="*/ 589112 w 1109820"/>
                    <a:gd name="connsiteY41" fmla="*/ 640519 h 976312"/>
                    <a:gd name="connsiteX42" fmla="*/ 614787 w 1109820"/>
                    <a:gd name="connsiteY42" fmla="*/ 650500 h 976312"/>
                    <a:gd name="connsiteX43" fmla="*/ 714637 w 1109820"/>
                    <a:gd name="connsiteY43" fmla="*/ 670463 h 976312"/>
                    <a:gd name="connsiteX44" fmla="*/ 716776 w 1109820"/>
                    <a:gd name="connsiteY44" fmla="*/ 670463 h 976312"/>
                    <a:gd name="connsiteX45" fmla="*/ 720342 w 1109820"/>
                    <a:gd name="connsiteY45" fmla="*/ 670463 h 976312"/>
                    <a:gd name="connsiteX46" fmla="*/ 790950 w 1109820"/>
                    <a:gd name="connsiteY46" fmla="*/ 659769 h 976312"/>
                    <a:gd name="connsiteX47" fmla="*/ 797369 w 1109820"/>
                    <a:gd name="connsiteY47" fmla="*/ 658343 h 976312"/>
                    <a:gd name="connsiteX48" fmla="*/ 938585 w 1109820"/>
                    <a:gd name="connsiteY48" fmla="*/ 569939 h 976312"/>
                    <a:gd name="connsiteX49" fmla="*/ 987083 w 1109820"/>
                    <a:gd name="connsiteY49" fmla="*/ 515756 h 976312"/>
                    <a:gd name="connsiteX50" fmla="*/ 1039860 w 1109820"/>
                    <a:gd name="connsiteY50" fmla="*/ 492229 h 976312"/>
                    <a:gd name="connsiteX51" fmla="*/ 1046279 w 1109820"/>
                    <a:gd name="connsiteY51" fmla="*/ 492229 h 976312"/>
                    <a:gd name="connsiteX52" fmla="*/ 1086932 w 1109820"/>
                    <a:gd name="connsiteY52" fmla="*/ 510052 h 976312"/>
                    <a:gd name="connsiteX53" fmla="*/ 1093351 w 1109820"/>
                    <a:gd name="connsiteY53" fmla="*/ 607011 h 976312"/>
                    <a:gd name="connsiteX54" fmla="*/ 1046279 w 1109820"/>
                    <a:gd name="connsiteY54" fmla="*/ 661907 h 976312"/>
                    <a:gd name="connsiteX55" fmla="*/ 819478 w 1109820"/>
                    <a:gd name="connsiteY55" fmla="*/ 813050 h 976312"/>
                    <a:gd name="connsiteX56" fmla="*/ 806641 w 1109820"/>
                    <a:gd name="connsiteY56" fmla="*/ 816615 h 976312"/>
                    <a:gd name="connsiteX57" fmla="*/ 600523 w 1109820"/>
                    <a:gd name="connsiteY57" fmla="*/ 847984 h 976312"/>
                    <a:gd name="connsiteX58" fmla="*/ 551312 w 1109820"/>
                    <a:gd name="connsiteY58" fmla="*/ 846558 h 976312"/>
                    <a:gd name="connsiteX59" fmla="*/ 430779 w 1109820"/>
                    <a:gd name="connsiteY59" fmla="*/ 837290 h 976312"/>
                    <a:gd name="connsiteX60" fmla="*/ 416515 w 1109820"/>
                    <a:gd name="connsiteY60" fmla="*/ 837290 h 976312"/>
                    <a:gd name="connsiteX61" fmla="*/ 343054 w 1109820"/>
                    <a:gd name="connsiteY61" fmla="*/ 850835 h 976312"/>
                    <a:gd name="connsiteX62" fmla="*/ 21397 w 1109820"/>
                    <a:gd name="connsiteY62" fmla="*/ 974886 h 976312"/>
                    <a:gd name="connsiteX63" fmla="*/ 15691 w 1109820"/>
                    <a:gd name="connsiteY63" fmla="*/ 976312 h 976312"/>
                    <a:gd name="connsiteX64" fmla="*/ 0 w 1109820"/>
                    <a:gd name="connsiteY64" fmla="*/ 959915 h 976312"/>
                    <a:gd name="connsiteX65" fmla="*/ 0 w 1109820"/>
                    <a:gd name="connsiteY65" fmla="*/ 671176 h 976312"/>
                    <a:gd name="connsiteX66" fmla="*/ 7846 w 1109820"/>
                    <a:gd name="connsiteY66" fmla="*/ 657630 h 976312"/>
                    <a:gd name="connsiteX67" fmla="*/ 306681 w 1109820"/>
                    <a:gd name="connsiteY67" fmla="*/ 487238 h 976312"/>
                    <a:gd name="connsiteX68" fmla="*/ 321658 w 1109820"/>
                    <a:gd name="connsiteY68" fmla="*/ 480109 h 976312"/>
                    <a:gd name="connsiteX69" fmla="*/ 392266 w 1109820"/>
                    <a:gd name="connsiteY69" fmla="*/ 465137 h 976312"/>
                    <a:gd name="connsiteX70" fmla="*/ 653697 w 1109820"/>
                    <a:gd name="connsiteY70" fmla="*/ 93662 h 976312"/>
                    <a:gd name="connsiteX71" fmla="*/ 682413 w 1109820"/>
                    <a:gd name="connsiteY71" fmla="*/ 93662 h 976312"/>
                    <a:gd name="connsiteX72" fmla="*/ 682413 w 1109820"/>
                    <a:gd name="connsiteY72" fmla="*/ 115006 h 976312"/>
                    <a:gd name="connsiteX73" fmla="*/ 716873 w 1109820"/>
                    <a:gd name="connsiteY73" fmla="*/ 126390 h 976312"/>
                    <a:gd name="connsiteX74" fmla="*/ 707540 w 1109820"/>
                    <a:gd name="connsiteY74" fmla="*/ 153426 h 976312"/>
                    <a:gd name="connsiteX75" fmla="*/ 670209 w 1109820"/>
                    <a:gd name="connsiteY75" fmla="*/ 141331 h 976312"/>
                    <a:gd name="connsiteX76" fmla="*/ 652979 w 1109820"/>
                    <a:gd name="connsiteY76" fmla="*/ 147023 h 976312"/>
                    <a:gd name="connsiteX77" fmla="*/ 646517 w 1109820"/>
                    <a:gd name="connsiteY77" fmla="*/ 162675 h 976312"/>
                    <a:gd name="connsiteX78" fmla="*/ 681695 w 1109820"/>
                    <a:gd name="connsiteY78" fmla="*/ 194691 h 976312"/>
                    <a:gd name="connsiteX79" fmla="*/ 708976 w 1109820"/>
                    <a:gd name="connsiteY79" fmla="*/ 211767 h 976312"/>
                    <a:gd name="connsiteX80" fmla="*/ 721181 w 1109820"/>
                    <a:gd name="connsiteY80" fmla="*/ 228842 h 976312"/>
                    <a:gd name="connsiteX81" fmla="*/ 725488 w 1109820"/>
                    <a:gd name="connsiteY81" fmla="*/ 251609 h 976312"/>
                    <a:gd name="connsiteX82" fmla="*/ 714002 w 1109820"/>
                    <a:gd name="connsiteY82" fmla="*/ 281491 h 976312"/>
                    <a:gd name="connsiteX83" fmla="*/ 682413 w 1109820"/>
                    <a:gd name="connsiteY83" fmla="*/ 299278 h 976312"/>
                    <a:gd name="connsiteX84" fmla="*/ 682413 w 1109820"/>
                    <a:gd name="connsiteY84" fmla="*/ 327025 h 976312"/>
                    <a:gd name="connsiteX85" fmla="*/ 653697 w 1109820"/>
                    <a:gd name="connsiteY85" fmla="*/ 327025 h 976312"/>
                    <a:gd name="connsiteX86" fmla="*/ 653697 w 1109820"/>
                    <a:gd name="connsiteY86" fmla="*/ 300701 h 976312"/>
                    <a:gd name="connsiteX87" fmla="*/ 612775 w 1109820"/>
                    <a:gd name="connsiteY87" fmla="*/ 288606 h 976312"/>
                    <a:gd name="connsiteX88" fmla="*/ 625698 w 1109820"/>
                    <a:gd name="connsiteY88" fmla="*/ 260147 h 976312"/>
                    <a:gd name="connsiteX89" fmla="*/ 663747 w 1109820"/>
                    <a:gd name="connsiteY89" fmla="*/ 272953 h 976312"/>
                    <a:gd name="connsiteX90" fmla="*/ 692464 w 1109820"/>
                    <a:gd name="connsiteY90" fmla="*/ 253743 h 976312"/>
                    <a:gd name="connsiteX91" fmla="*/ 685285 w 1109820"/>
                    <a:gd name="connsiteY91" fmla="*/ 235245 h 976312"/>
                    <a:gd name="connsiteX92" fmla="*/ 657286 w 1109820"/>
                    <a:gd name="connsiteY92" fmla="*/ 216035 h 976312"/>
                    <a:gd name="connsiteX93" fmla="*/ 629287 w 1109820"/>
                    <a:gd name="connsiteY93" fmla="*/ 199672 h 976312"/>
                    <a:gd name="connsiteX94" fmla="*/ 617083 w 1109820"/>
                    <a:gd name="connsiteY94" fmla="*/ 183308 h 976312"/>
                    <a:gd name="connsiteX95" fmla="*/ 613493 w 1109820"/>
                    <a:gd name="connsiteY95" fmla="*/ 162675 h 976312"/>
                    <a:gd name="connsiteX96" fmla="*/ 624980 w 1109820"/>
                    <a:gd name="connsiteY96" fmla="*/ 133505 h 976312"/>
                    <a:gd name="connsiteX97" fmla="*/ 653697 w 1109820"/>
                    <a:gd name="connsiteY97" fmla="*/ 116429 h 976312"/>
                    <a:gd name="connsiteX98" fmla="*/ 653697 w 1109820"/>
                    <a:gd name="connsiteY98" fmla="*/ 93662 h 976312"/>
                    <a:gd name="connsiteX99" fmla="*/ 263525 w 1109820"/>
                    <a:gd name="connsiteY99" fmla="*/ 20637 h 976312"/>
                    <a:gd name="connsiteX100" fmla="*/ 263525 w 1109820"/>
                    <a:gd name="connsiteY100" fmla="*/ 398462 h 976312"/>
                    <a:gd name="connsiteX101" fmla="*/ 1076325 w 1109820"/>
                    <a:gd name="connsiteY101" fmla="*/ 398462 h 976312"/>
                    <a:gd name="connsiteX102" fmla="*/ 1076325 w 1109820"/>
                    <a:gd name="connsiteY102" fmla="*/ 20637 h 976312"/>
                    <a:gd name="connsiteX103" fmla="*/ 263525 w 1109820"/>
                    <a:gd name="connsiteY103" fmla="*/ 20637 h 976312"/>
                    <a:gd name="connsiteX104" fmla="*/ 252014 w 1109820"/>
                    <a:gd name="connsiteY104" fmla="*/ 0 h 976312"/>
                    <a:gd name="connsiteX105" fmla="*/ 1086250 w 1109820"/>
                    <a:gd name="connsiteY105" fmla="*/ 0 h 976312"/>
                    <a:gd name="connsiteX106" fmla="*/ 1096963 w 1109820"/>
                    <a:gd name="connsiteY106" fmla="*/ 10013 h 976312"/>
                    <a:gd name="connsiteX107" fmla="*/ 1096963 w 1109820"/>
                    <a:gd name="connsiteY107" fmla="*/ 408372 h 976312"/>
                    <a:gd name="connsiteX108" fmla="*/ 1086250 w 1109820"/>
                    <a:gd name="connsiteY108" fmla="*/ 419100 h 976312"/>
                    <a:gd name="connsiteX109" fmla="*/ 252014 w 1109820"/>
                    <a:gd name="connsiteY109" fmla="*/ 419100 h 976312"/>
                    <a:gd name="connsiteX110" fmla="*/ 241300 w 1109820"/>
                    <a:gd name="connsiteY110" fmla="*/ 408372 h 976312"/>
                    <a:gd name="connsiteX111" fmla="*/ 241300 w 1109820"/>
                    <a:gd name="connsiteY111" fmla="*/ 10013 h 976312"/>
                    <a:gd name="connsiteX112" fmla="*/ 252014 w 1109820"/>
                    <a:gd name="connsiteY112" fmla="*/ 0 h 976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</a:cxnLst>
                  <a:rect l="l" t="t" r="r" b="b"/>
                  <a:pathLst>
                    <a:path w="1109820" h="976312">
                      <a:moveTo>
                        <a:pt x="392516" y="496887"/>
                      </a:moveTo>
                      <a:cubicBezTo>
                        <a:pt x="367561" y="496887"/>
                        <a:pt x="344033" y="503304"/>
                        <a:pt x="322644" y="515424"/>
                      </a:cubicBezTo>
                      <a:cubicBezTo>
                        <a:pt x="322644" y="515424"/>
                        <a:pt x="322644" y="515424"/>
                        <a:pt x="321931" y="515424"/>
                      </a:cubicBezTo>
                      <a:cubicBezTo>
                        <a:pt x="321931" y="515424"/>
                        <a:pt x="321931" y="515424"/>
                        <a:pt x="31750" y="680832"/>
                      </a:cubicBezTo>
                      <a:cubicBezTo>
                        <a:pt x="31750" y="680832"/>
                        <a:pt x="31750" y="680832"/>
                        <a:pt x="31750" y="938212"/>
                      </a:cubicBezTo>
                      <a:cubicBezTo>
                        <a:pt x="31750" y="938212"/>
                        <a:pt x="31750" y="938212"/>
                        <a:pt x="331913" y="821999"/>
                      </a:cubicBezTo>
                      <a:cubicBezTo>
                        <a:pt x="359006" y="811304"/>
                        <a:pt x="387525" y="806314"/>
                        <a:pt x="416757" y="806314"/>
                      </a:cubicBezTo>
                      <a:cubicBezTo>
                        <a:pt x="422460" y="806314"/>
                        <a:pt x="428164" y="806314"/>
                        <a:pt x="433868" y="807027"/>
                      </a:cubicBezTo>
                      <a:cubicBezTo>
                        <a:pt x="433868" y="807027"/>
                        <a:pt x="433868" y="807027"/>
                        <a:pt x="553648" y="815582"/>
                      </a:cubicBezTo>
                      <a:cubicBezTo>
                        <a:pt x="569333" y="816295"/>
                        <a:pt x="585019" y="817008"/>
                        <a:pt x="600704" y="817008"/>
                      </a:cubicBezTo>
                      <a:cubicBezTo>
                        <a:pt x="667724" y="817008"/>
                        <a:pt x="734030" y="807027"/>
                        <a:pt x="797485" y="787064"/>
                      </a:cubicBezTo>
                      <a:cubicBezTo>
                        <a:pt x="797485" y="787064"/>
                        <a:pt x="797485" y="787064"/>
                        <a:pt x="810319" y="783499"/>
                      </a:cubicBezTo>
                      <a:cubicBezTo>
                        <a:pt x="880903" y="761397"/>
                        <a:pt x="944358" y="722184"/>
                        <a:pt x="996405" y="670850"/>
                      </a:cubicBezTo>
                      <a:cubicBezTo>
                        <a:pt x="1005674" y="661582"/>
                        <a:pt x="1014230" y="652313"/>
                        <a:pt x="1022785" y="642332"/>
                      </a:cubicBezTo>
                      <a:cubicBezTo>
                        <a:pt x="1022785" y="642332"/>
                        <a:pt x="1022785" y="642332"/>
                        <a:pt x="1046313" y="614526"/>
                      </a:cubicBezTo>
                      <a:cubicBezTo>
                        <a:pt x="1046313" y="614526"/>
                        <a:pt x="1046313" y="614526"/>
                        <a:pt x="1069129" y="587434"/>
                      </a:cubicBezTo>
                      <a:cubicBezTo>
                        <a:pt x="1082675" y="571035"/>
                        <a:pt x="1081249" y="547508"/>
                        <a:pt x="1065564" y="533961"/>
                      </a:cubicBezTo>
                      <a:cubicBezTo>
                        <a:pt x="1059860" y="528971"/>
                        <a:pt x="1053443" y="525406"/>
                        <a:pt x="1046313" y="523980"/>
                      </a:cubicBezTo>
                      <a:cubicBezTo>
                        <a:pt x="1044175" y="523980"/>
                        <a:pt x="1042036" y="523980"/>
                        <a:pt x="1039897" y="523980"/>
                      </a:cubicBezTo>
                      <a:cubicBezTo>
                        <a:pt x="1028489" y="523980"/>
                        <a:pt x="1018507" y="528258"/>
                        <a:pt x="1010665" y="536813"/>
                      </a:cubicBezTo>
                      <a:cubicBezTo>
                        <a:pt x="1010665" y="536813"/>
                        <a:pt x="1010665" y="536813"/>
                        <a:pt x="962182" y="590998"/>
                      </a:cubicBezTo>
                      <a:cubicBezTo>
                        <a:pt x="932238" y="625221"/>
                        <a:pt x="895876" y="651600"/>
                        <a:pt x="855949" y="670850"/>
                      </a:cubicBezTo>
                      <a:cubicBezTo>
                        <a:pt x="839551" y="677980"/>
                        <a:pt x="823152" y="684397"/>
                        <a:pt x="806041" y="688675"/>
                      </a:cubicBezTo>
                      <a:cubicBezTo>
                        <a:pt x="806041" y="688675"/>
                        <a:pt x="806041" y="688675"/>
                        <a:pt x="799624" y="690813"/>
                      </a:cubicBezTo>
                      <a:cubicBezTo>
                        <a:pt x="772531" y="697943"/>
                        <a:pt x="745438" y="702221"/>
                        <a:pt x="716919" y="702221"/>
                      </a:cubicBezTo>
                      <a:cubicBezTo>
                        <a:pt x="677705" y="702221"/>
                        <a:pt x="639205" y="694378"/>
                        <a:pt x="602843" y="680119"/>
                      </a:cubicBezTo>
                      <a:cubicBezTo>
                        <a:pt x="602843" y="680119"/>
                        <a:pt x="602843" y="680119"/>
                        <a:pt x="580028" y="670850"/>
                      </a:cubicBezTo>
                      <a:cubicBezTo>
                        <a:pt x="580028" y="670850"/>
                        <a:pt x="580028" y="670850"/>
                        <a:pt x="577889" y="669425"/>
                      </a:cubicBezTo>
                      <a:cubicBezTo>
                        <a:pt x="560065" y="662295"/>
                        <a:pt x="549370" y="644471"/>
                        <a:pt x="552222" y="625934"/>
                      </a:cubicBezTo>
                      <a:cubicBezTo>
                        <a:pt x="555074" y="606684"/>
                        <a:pt x="570046" y="592424"/>
                        <a:pt x="589297" y="590285"/>
                      </a:cubicBezTo>
                      <a:cubicBezTo>
                        <a:pt x="589297" y="590285"/>
                        <a:pt x="589297" y="590285"/>
                        <a:pt x="709789" y="578878"/>
                      </a:cubicBezTo>
                      <a:cubicBezTo>
                        <a:pt x="726901" y="577452"/>
                        <a:pt x="739734" y="563193"/>
                        <a:pt x="739734" y="546082"/>
                      </a:cubicBezTo>
                      <a:cubicBezTo>
                        <a:pt x="739734" y="528258"/>
                        <a:pt x="726188" y="513998"/>
                        <a:pt x="708363" y="512572"/>
                      </a:cubicBezTo>
                      <a:cubicBezTo>
                        <a:pt x="708363" y="512572"/>
                        <a:pt x="708363" y="512572"/>
                        <a:pt x="399645" y="496887"/>
                      </a:cubicBezTo>
                      <a:cubicBezTo>
                        <a:pt x="396793" y="496887"/>
                        <a:pt x="394654" y="496887"/>
                        <a:pt x="392516" y="496887"/>
                      </a:cubicBezTo>
                      <a:close/>
                      <a:moveTo>
                        <a:pt x="392266" y="465137"/>
                      </a:moveTo>
                      <a:cubicBezTo>
                        <a:pt x="395119" y="465137"/>
                        <a:pt x="397971" y="465137"/>
                        <a:pt x="400824" y="465137"/>
                      </a:cubicBezTo>
                      <a:cubicBezTo>
                        <a:pt x="400824" y="465137"/>
                        <a:pt x="400824" y="465137"/>
                        <a:pt x="709644" y="480822"/>
                      </a:cubicBezTo>
                      <a:cubicBezTo>
                        <a:pt x="743878" y="482961"/>
                        <a:pt x="770980" y="511478"/>
                        <a:pt x="770980" y="545699"/>
                      </a:cubicBezTo>
                      <a:cubicBezTo>
                        <a:pt x="770980" y="578494"/>
                        <a:pt x="746018" y="606298"/>
                        <a:pt x="712497" y="609863"/>
                      </a:cubicBezTo>
                      <a:cubicBezTo>
                        <a:pt x="712497" y="609863"/>
                        <a:pt x="712497" y="609863"/>
                        <a:pt x="591964" y="621270"/>
                      </a:cubicBezTo>
                      <a:cubicBezTo>
                        <a:pt x="581980" y="622696"/>
                        <a:pt x="579840" y="636242"/>
                        <a:pt x="589112" y="640519"/>
                      </a:cubicBezTo>
                      <a:cubicBezTo>
                        <a:pt x="589112" y="640519"/>
                        <a:pt x="589112" y="640519"/>
                        <a:pt x="614787" y="650500"/>
                      </a:cubicBezTo>
                      <a:cubicBezTo>
                        <a:pt x="646882" y="663333"/>
                        <a:pt x="680403" y="669750"/>
                        <a:pt x="714637" y="670463"/>
                      </a:cubicBezTo>
                      <a:cubicBezTo>
                        <a:pt x="715350" y="670463"/>
                        <a:pt x="716063" y="670463"/>
                        <a:pt x="716776" y="670463"/>
                      </a:cubicBezTo>
                      <a:cubicBezTo>
                        <a:pt x="718203" y="670463"/>
                        <a:pt x="719629" y="670463"/>
                        <a:pt x="720342" y="670463"/>
                      </a:cubicBezTo>
                      <a:cubicBezTo>
                        <a:pt x="743878" y="669750"/>
                        <a:pt x="768127" y="666898"/>
                        <a:pt x="790950" y="659769"/>
                      </a:cubicBezTo>
                      <a:cubicBezTo>
                        <a:pt x="790950" y="659769"/>
                        <a:pt x="790950" y="659769"/>
                        <a:pt x="797369" y="658343"/>
                      </a:cubicBezTo>
                      <a:cubicBezTo>
                        <a:pt x="852286" y="643371"/>
                        <a:pt x="901498" y="612715"/>
                        <a:pt x="938585" y="569939"/>
                      </a:cubicBezTo>
                      <a:cubicBezTo>
                        <a:pt x="938585" y="569939"/>
                        <a:pt x="938585" y="569939"/>
                        <a:pt x="987083" y="515756"/>
                      </a:cubicBezTo>
                      <a:cubicBezTo>
                        <a:pt x="1001347" y="500071"/>
                        <a:pt x="1020604" y="492229"/>
                        <a:pt x="1039860" y="492229"/>
                      </a:cubicBezTo>
                      <a:cubicBezTo>
                        <a:pt x="1042000" y="492229"/>
                        <a:pt x="1044140" y="492229"/>
                        <a:pt x="1046279" y="492229"/>
                      </a:cubicBezTo>
                      <a:cubicBezTo>
                        <a:pt x="1060543" y="493655"/>
                        <a:pt x="1074808" y="499358"/>
                        <a:pt x="1086932" y="510052"/>
                      </a:cubicBezTo>
                      <a:cubicBezTo>
                        <a:pt x="1114747" y="535718"/>
                        <a:pt x="1117600" y="578494"/>
                        <a:pt x="1093351" y="607011"/>
                      </a:cubicBezTo>
                      <a:cubicBezTo>
                        <a:pt x="1093351" y="607011"/>
                        <a:pt x="1093351" y="607011"/>
                        <a:pt x="1046279" y="661907"/>
                      </a:cubicBezTo>
                      <a:cubicBezTo>
                        <a:pt x="986370" y="733201"/>
                        <a:pt x="907916" y="785245"/>
                        <a:pt x="819478" y="813050"/>
                      </a:cubicBezTo>
                      <a:cubicBezTo>
                        <a:pt x="819478" y="813050"/>
                        <a:pt x="819478" y="813050"/>
                        <a:pt x="806641" y="816615"/>
                      </a:cubicBezTo>
                      <a:cubicBezTo>
                        <a:pt x="739599" y="837290"/>
                        <a:pt x="670418" y="847984"/>
                        <a:pt x="600523" y="847984"/>
                      </a:cubicBezTo>
                      <a:cubicBezTo>
                        <a:pt x="584119" y="847984"/>
                        <a:pt x="567715" y="847271"/>
                        <a:pt x="551312" y="846558"/>
                      </a:cubicBezTo>
                      <a:cubicBezTo>
                        <a:pt x="551312" y="846558"/>
                        <a:pt x="551312" y="846558"/>
                        <a:pt x="430779" y="837290"/>
                      </a:cubicBezTo>
                      <a:cubicBezTo>
                        <a:pt x="426500" y="837290"/>
                        <a:pt x="421507" y="837290"/>
                        <a:pt x="416515" y="837290"/>
                      </a:cubicBezTo>
                      <a:cubicBezTo>
                        <a:pt x="391552" y="837290"/>
                        <a:pt x="366590" y="841567"/>
                        <a:pt x="343054" y="850835"/>
                      </a:cubicBezTo>
                      <a:cubicBezTo>
                        <a:pt x="343054" y="850835"/>
                        <a:pt x="343054" y="850835"/>
                        <a:pt x="21397" y="974886"/>
                      </a:cubicBezTo>
                      <a:cubicBezTo>
                        <a:pt x="19970" y="975599"/>
                        <a:pt x="17830" y="976312"/>
                        <a:pt x="15691" y="976312"/>
                      </a:cubicBezTo>
                      <a:cubicBezTo>
                        <a:pt x="7132" y="976312"/>
                        <a:pt x="0" y="969183"/>
                        <a:pt x="0" y="959915"/>
                      </a:cubicBezTo>
                      <a:cubicBezTo>
                        <a:pt x="0" y="959915"/>
                        <a:pt x="0" y="959915"/>
                        <a:pt x="0" y="671176"/>
                      </a:cubicBezTo>
                      <a:cubicBezTo>
                        <a:pt x="0" y="665472"/>
                        <a:pt x="2853" y="660482"/>
                        <a:pt x="7846" y="657630"/>
                      </a:cubicBezTo>
                      <a:cubicBezTo>
                        <a:pt x="7846" y="657630"/>
                        <a:pt x="7846" y="657630"/>
                        <a:pt x="306681" y="487238"/>
                      </a:cubicBezTo>
                      <a:cubicBezTo>
                        <a:pt x="311673" y="484386"/>
                        <a:pt x="316665" y="482248"/>
                        <a:pt x="321658" y="480109"/>
                      </a:cubicBezTo>
                      <a:cubicBezTo>
                        <a:pt x="343767" y="470128"/>
                        <a:pt x="368017" y="465137"/>
                        <a:pt x="392266" y="465137"/>
                      </a:cubicBezTo>
                      <a:close/>
                      <a:moveTo>
                        <a:pt x="653697" y="93662"/>
                      </a:moveTo>
                      <a:cubicBezTo>
                        <a:pt x="682413" y="93662"/>
                        <a:pt x="682413" y="93662"/>
                        <a:pt x="682413" y="93662"/>
                      </a:cubicBezTo>
                      <a:cubicBezTo>
                        <a:pt x="682413" y="115006"/>
                        <a:pt x="682413" y="115006"/>
                        <a:pt x="682413" y="115006"/>
                      </a:cubicBezTo>
                      <a:cubicBezTo>
                        <a:pt x="697489" y="116429"/>
                        <a:pt x="709694" y="119987"/>
                        <a:pt x="716873" y="126390"/>
                      </a:cubicBezTo>
                      <a:cubicBezTo>
                        <a:pt x="707540" y="153426"/>
                        <a:pt x="707540" y="153426"/>
                        <a:pt x="707540" y="153426"/>
                      </a:cubicBezTo>
                      <a:cubicBezTo>
                        <a:pt x="695336" y="145600"/>
                        <a:pt x="683131" y="141331"/>
                        <a:pt x="670209" y="141331"/>
                      </a:cubicBezTo>
                      <a:cubicBezTo>
                        <a:pt x="663029" y="141331"/>
                        <a:pt x="657286" y="143465"/>
                        <a:pt x="652979" y="147023"/>
                      </a:cubicBezTo>
                      <a:cubicBezTo>
                        <a:pt x="648671" y="151291"/>
                        <a:pt x="646517" y="156272"/>
                        <a:pt x="646517" y="162675"/>
                      </a:cubicBezTo>
                      <a:cubicBezTo>
                        <a:pt x="646517" y="172636"/>
                        <a:pt x="658004" y="184019"/>
                        <a:pt x="681695" y="194691"/>
                      </a:cubicBezTo>
                      <a:cubicBezTo>
                        <a:pt x="693900" y="201094"/>
                        <a:pt x="703233" y="206786"/>
                        <a:pt x="708976" y="211767"/>
                      </a:cubicBezTo>
                      <a:cubicBezTo>
                        <a:pt x="714719" y="216747"/>
                        <a:pt x="718309" y="222439"/>
                        <a:pt x="721181" y="228842"/>
                      </a:cubicBezTo>
                      <a:cubicBezTo>
                        <a:pt x="724052" y="235957"/>
                        <a:pt x="725488" y="243071"/>
                        <a:pt x="725488" y="251609"/>
                      </a:cubicBezTo>
                      <a:cubicBezTo>
                        <a:pt x="725488" y="262993"/>
                        <a:pt x="721899" y="272953"/>
                        <a:pt x="714002" y="281491"/>
                      </a:cubicBezTo>
                      <a:cubicBezTo>
                        <a:pt x="706822" y="290029"/>
                        <a:pt x="695336" y="296432"/>
                        <a:pt x="682413" y="299278"/>
                      </a:cubicBezTo>
                      <a:cubicBezTo>
                        <a:pt x="682413" y="327025"/>
                        <a:pt x="682413" y="327025"/>
                        <a:pt x="682413" y="327025"/>
                      </a:cubicBezTo>
                      <a:cubicBezTo>
                        <a:pt x="653697" y="327025"/>
                        <a:pt x="653697" y="327025"/>
                        <a:pt x="653697" y="327025"/>
                      </a:cubicBezTo>
                      <a:cubicBezTo>
                        <a:pt x="653697" y="300701"/>
                        <a:pt x="653697" y="300701"/>
                        <a:pt x="653697" y="300701"/>
                      </a:cubicBezTo>
                      <a:cubicBezTo>
                        <a:pt x="639338" y="300701"/>
                        <a:pt x="625698" y="296432"/>
                        <a:pt x="612775" y="288606"/>
                      </a:cubicBezTo>
                      <a:cubicBezTo>
                        <a:pt x="625698" y="260147"/>
                        <a:pt x="625698" y="260147"/>
                        <a:pt x="625698" y="260147"/>
                      </a:cubicBezTo>
                      <a:cubicBezTo>
                        <a:pt x="638620" y="268684"/>
                        <a:pt x="651543" y="272953"/>
                        <a:pt x="663747" y="272953"/>
                      </a:cubicBezTo>
                      <a:cubicBezTo>
                        <a:pt x="683131" y="272953"/>
                        <a:pt x="692464" y="266550"/>
                        <a:pt x="692464" y="253743"/>
                      </a:cubicBezTo>
                      <a:cubicBezTo>
                        <a:pt x="692464" y="247340"/>
                        <a:pt x="690310" y="240937"/>
                        <a:pt x="685285" y="235245"/>
                      </a:cubicBezTo>
                      <a:cubicBezTo>
                        <a:pt x="680259" y="229553"/>
                        <a:pt x="670927" y="223150"/>
                        <a:pt x="657286" y="216035"/>
                      </a:cubicBezTo>
                      <a:cubicBezTo>
                        <a:pt x="643646" y="209632"/>
                        <a:pt x="634313" y="203940"/>
                        <a:pt x="629287" y="199672"/>
                      </a:cubicBezTo>
                      <a:cubicBezTo>
                        <a:pt x="624262" y="194691"/>
                        <a:pt x="620672" y="189711"/>
                        <a:pt x="617083" y="183308"/>
                      </a:cubicBezTo>
                      <a:cubicBezTo>
                        <a:pt x="614929" y="176904"/>
                        <a:pt x="613493" y="170501"/>
                        <a:pt x="613493" y="162675"/>
                      </a:cubicBezTo>
                      <a:cubicBezTo>
                        <a:pt x="613493" y="151291"/>
                        <a:pt x="617083" y="141331"/>
                        <a:pt x="624980" y="133505"/>
                      </a:cubicBezTo>
                      <a:cubicBezTo>
                        <a:pt x="632159" y="124967"/>
                        <a:pt x="641492" y="119275"/>
                        <a:pt x="653697" y="116429"/>
                      </a:cubicBezTo>
                      <a:cubicBezTo>
                        <a:pt x="653697" y="93662"/>
                        <a:pt x="653697" y="93662"/>
                        <a:pt x="653697" y="93662"/>
                      </a:cubicBezTo>
                      <a:close/>
                      <a:moveTo>
                        <a:pt x="263525" y="20637"/>
                      </a:moveTo>
                      <a:cubicBezTo>
                        <a:pt x="263525" y="398462"/>
                        <a:pt x="263525" y="398462"/>
                        <a:pt x="263525" y="398462"/>
                      </a:cubicBezTo>
                      <a:cubicBezTo>
                        <a:pt x="1076325" y="398462"/>
                        <a:pt x="1076325" y="398462"/>
                        <a:pt x="1076325" y="398462"/>
                      </a:cubicBezTo>
                      <a:cubicBezTo>
                        <a:pt x="1076325" y="20637"/>
                        <a:pt x="1076325" y="20637"/>
                        <a:pt x="1076325" y="20637"/>
                      </a:cubicBezTo>
                      <a:cubicBezTo>
                        <a:pt x="263525" y="20637"/>
                        <a:pt x="263525" y="20637"/>
                        <a:pt x="263525" y="20637"/>
                      </a:cubicBezTo>
                      <a:close/>
                      <a:moveTo>
                        <a:pt x="252014" y="0"/>
                      </a:moveTo>
                      <a:cubicBezTo>
                        <a:pt x="1086250" y="0"/>
                        <a:pt x="1086250" y="0"/>
                        <a:pt x="1086250" y="0"/>
                      </a:cubicBezTo>
                      <a:cubicBezTo>
                        <a:pt x="1092678" y="0"/>
                        <a:pt x="1096963" y="4291"/>
                        <a:pt x="1096963" y="10013"/>
                      </a:cubicBezTo>
                      <a:cubicBezTo>
                        <a:pt x="1096963" y="408372"/>
                        <a:pt x="1096963" y="408372"/>
                        <a:pt x="1096963" y="408372"/>
                      </a:cubicBezTo>
                      <a:cubicBezTo>
                        <a:pt x="1096963" y="414094"/>
                        <a:pt x="1092678" y="419100"/>
                        <a:pt x="1086250" y="419100"/>
                      </a:cubicBezTo>
                      <a:cubicBezTo>
                        <a:pt x="252014" y="419100"/>
                        <a:pt x="252014" y="419100"/>
                        <a:pt x="252014" y="419100"/>
                      </a:cubicBezTo>
                      <a:cubicBezTo>
                        <a:pt x="246300" y="419100"/>
                        <a:pt x="241300" y="414094"/>
                        <a:pt x="241300" y="408372"/>
                      </a:cubicBezTo>
                      <a:cubicBezTo>
                        <a:pt x="241300" y="10013"/>
                        <a:pt x="241300" y="10013"/>
                        <a:pt x="241300" y="10013"/>
                      </a:cubicBezTo>
                      <a:cubicBezTo>
                        <a:pt x="241300" y="4291"/>
                        <a:pt x="246300" y="0"/>
                        <a:pt x="252014" y="0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14"/>
                <p:cNvSpPr>
                  <a:spLocks noEditPoints="1"/>
                </p:cNvSpPr>
                <p:nvPr/>
              </p:nvSpPr>
              <p:spPr bwMode="auto">
                <a:xfrm>
                  <a:off x="5819775" y="2962275"/>
                  <a:ext cx="777875" cy="347663"/>
                </a:xfrm>
                <a:custGeom>
                  <a:avLst/>
                  <a:gdLst>
                    <a:gd name="T0" fmla="*/ 615 w 1090"/>
                    <a:gd name="T1" fmla="*/ 0 h 487"/>
                    <a:gd name="T2" fmla="*/ 1013 w 1090"/>
                    <a:gd name="T3" fmla="*/ 0 h 487"/>
                    <a:gd name="T4" fmla="*/ 1016 w 1090"/>
                    <a:gd name="T5" fmla="*/ 3 h 487"/>
                    <a:gd name="T6" fmla="*/ 1013 w 1090"/>
                    <a:gd name="T7" fmla="*/ 21 h 487"/>
                    <a:gd name="T8" fmla="*/ 1069 w 1090"/>
                    <a:gd name="T9" fmla="*/ 78 h 487"/>
                    <a:gd name="T10" fmla="*/ 1087 w 1090"/>
                    <a:gd name="T11" fmla="*/ 74 h 487"/>
                    <a:gd name="T12" fmla="*/ 1090 w 1090"/>
                    <a:gd name="T13" fmla="*/ 76 h 487"/>
                    <a:gd name="T14" fmla="*/ 1090 w 1090"/>
                    <a:gd name="T15" fmla="*/ 412 h 487"/>
                    <a:gd name="T16" fmla="*/ 1087 w 1090"/>
                    <a:gd name="T17" fmla="*/ 415 h 487"/>
                    <a:gd name="T18" fmla="*/ 1069 w 1090"/>
                    <a:gd name="T19" fmla="*/ 411 h 487"/>
                    <a:gd name="T20" fmla="*/ 1013 w 1090"/>
                    <a:gd name="T21" fmla="*/ 468 h 487"/>
                    <a:gd name="T22" fmla="*/ 1015 w 1090"/>
                    <a:gd name="T23" fmla="*/ 484 h 487"/>
                    <a:gd name="T24" fmla="*/ 1013 w 1090"/>
                    <a:gd name="T25" fmla="*/ 487 h 487"/>
                    <a:gd name="T26" fmla="*/ 615 w 1090"/>
                    <a:gd name="T27" fmla="*/ 487 h 487"/>
                    <a:gd name="T28" fmla="*/ 614 w 1090"/>
                    <a:gd name="T29" fmla="*/ 483 h 487"/>
                    <a:gd name="T30" fmla="*/ 725 w 1090"/>
                    <a:gd name="T31" fmla="*/ 243 h 487"/>
                    <a:gd name="T32" fmla="*/ 614 w 1090"/>
                    <a:gd name="T33" fmla="*/ 4 h 487"/>
                    <a:gd name="T34" fmla="*/ 615 w 1090"/>
                    <a:gd name="T35" fmla="*/ 0 h 487"/>
                    <a:gd name="T36" fmla="*/ 77 w 1090"/>
                    <a:gd name="T37" fmla="*/ 0 h 487"/>
                    <a:gd name="T38" fmla="*/ 477 w 1090"/>
                    <a:gd name="T39" fmla="*/ 0 h 487"/>
                    <a:gd name="T40" fmla="*/ 478 w 1090"/>
                    <a:gd name="T41" fmla="*/ 4 h 487"/>
                    <a:gd name="T42" fmla="*/ 366 w 1090"/>
                    <a:gd name="T43" fmla="*/ 243 h 487"/>
                    <a:gd name="T44" fmla="*/ 478 w 1090"/>
                    <a:gd name="T45" fmla="*/ 483 h 487"/>
                    <a:gd name="T46" fmla="*/ 477 w 1090"/>
                    <a:gd name="T47" fmla="*/ 487 h 487"/>
                    <a:gd name="T48" fmla="*/ 78 w 1090"/>
                    <a:gd name="T49" fmla="*/ 487 h 487"/>
                    <a:gd name="T50" fmla="*/ 75 w 1090"/>
                    <a:gd name="T51" fmla="*/ 484 h 487"/>
                    <a:gd name="T52" fmla="*/ 78 w 1090"/>
                    <a:gd name="T53" fmla="*/ 468 h 487"/>
                    <a:gd name="T54" fmla="*/ 21 w 1090"/>
                    <a:gd name="T55" fmla="*/ 411 h 487"/>
                    <a:gd name="T56" fmla="*/ 4 w 1090"/>
                    <a:gd name="T57" fmla="*/ 414 h 487"/>
                    <a:gd name="T58" fmla="*/ 0 w 1090"/>
                    <a:gd name="T59" fmla="*/ 412 h 487"/>
                    <a:gd name="T60" fmla="*/ 0 w 1090"/>
                    <a:gd name="T61" fmla="*/ 77 h 487"/>
                    <a:gd name="T62" fmla="*/ 4 w 1090"/>
                    <a:gd name="T63" fmla="*/ 75 h 487"/>
                    <a:gd name="T64" fmla="*/ 21 w 1090"/>
                    <a:gd name="T65" fmla="*/ 78 h 487"/>
                    <a:gd name="T66" fmla="*/ 78 w 1090"/>
                    <a:gd name="T67" fmla="*/ 21 h 487"/>
                    <a:gd name="T68" fmla="*/ 75 w 1090"/>
                    <a:gd name="T69" fmla="*/ 3 h 487"/>
                    <a:gd name="T70" fmla="*/ 77 w 1090"/>
                    <a:gd name="T71" fmla="*/ 0 h 4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90" h="487">
                      <a:moveTo>
                        <a:pt x="615" y="0"/>
                      </a:moveTo>
                      <a:cubicBezTo>
                        <a:pt x="615" y="0"/>
                        <a:pt x="615" y="0"/>
                        <a:pt x="1013" y="0"/>
                      </a:cubicBezTo>
                      <a:cubicBezTo>
                        <a:pt x="1015" y="0"/>
                        <a:pt x="1016" y="2"/>
                        <a:pt x="1016" y="3"/>
                      </a:cubicBezTo>
                      <a:cubicBezTo>
                        <a:pt x="1014" y="9"/>
                        <a:pt x="1013" y="15"/>
                        <a:pt x="1013" y="21"/>
                      </a:cubicBezTo>
                      <a:cubicBezTo>
                        <a:pt x="1013" y="52"/>
                        <a:pt x="1038" y="78"/>
                        <a:pt x="1069" y="78"/>
                      </a:cubicBezTo>
                      <a:cubicBezTo>
                        <a:pt x="1075" y="78"/>
                        <a:pt x="1082" y="76"/>
                        <a:pt x="1087" y="74"/>
                      </a:cubicBezTo>
                      <a:cubicBezTo>
                        <a:pt x="1089" y="74"/>
                        <a:pt x="1090" y="75"/>
                        <a:pt x="1090" y="76"/>
                      </a:cubicBezTo>
                      <a:cubicBezTo>
                        <a:pt x="1090" y="76"/>
                        <a:pt x="1090" y="76"/>
                        <a:pt x="1090" y="412"/>
                      </a:cubicBezTo>
                      <a:cubicBezTo>
                        <a:pt x="1090" y="414"/>
                        <a:pt x="1089" y="415"/>
                        <a:pt x="1087" y="415"/>
                      </a:cubicBezTo>
                      <a:cubicBezTo>
                        <a:pt x="1082" y="412"/>
                        <a:pt x="1075" y="411"/>
                        <a:pt x="1069" y="411"/>
                      </a:cubicBezTo>
                      <a:cubicBezTo>
                        <a:pt x="1038" y="411"/>
                        <a:pt x="1013" y="436"/>
                        <a:pt x="1013" y="468"/>
                      </a:cubicBezTo>
                      <a:cubicBezTo>
                        <a:pt x="1013" y="474"/>
                        <a:pt x="1013" y="479"/>
                        <a:pt x="1015" y="484"/>
                      </a:cubicBezTo>
                      <a:cubicBezTo>
                        <a:pt x="1016" y="486"/>
                        <a:pt x="1014" y="487"/>
                        <a:pt x="1013" y="487"/>
                      </a:cubicBezTo>
                      <a:cubicBezTo>
                        <a:pt x="1013" y="487"/>
                        <a:pt x="1013" y="487"/>
                        <a:pt x="615" y="487"/>
                      </a:cubicBezTo>
                      <a:cubicBezTo>
                        <a:pt x="613" y="487"/>
                        <a:pt x="612" y="484"/>
                        <a:pt x="614" y="483"/>
                      </a:cubicBezTo>
                      <a:cubicBezTo>
                        <a:pt x="671" y="441"/>
                        <a:pt x="725" y="349"/>
                        <a:pt x="725" y="243"/>
                      </a:cubicBezTo>
                      <a:cubicBezTo>
                        <a:pt x="725" y="138"/>
                        <a:pt x="671" y="46"/>
                        <a:pt x="614" y="4"/>
                      </a:cubicBezTo>
                      <a:cubicBezTo>
                        <a:pt x="612" y="3"/>
                        <a:pt x="613" y="0"/>
                        <a:pt x="615" y="0"/>
                      </a:cubicBezTo>
                      <a:close/>
                      <a:moveTo>
                        <a:pt x="77" y="0"/>
                      </a:moveTo>
                      <a:cubicBezTo>
                        <a:pt x="77" y="0"/>
                        <a:pt x="77" y="0"/>
                        <a:pt x="477" y="0"/>
                      </a:cubicBezTo>
                      <a:cubicBezTo>
                        <a:pt x="479" y="0"/>
                        <a:pt x="481" y="3"/>
                        <a:pt x="478" y="4"/>
                      </a:cubicBezTo>
                      <a:cubicBezTo>
                        <a:pt x="422" y="46"/>
                        <a:pt x="366" y="138"/>
                        <a:pt x="366" y="243"/>
                      </a:cubicBezTo>
                      <a:cubicBezTo>
                        <a:pt x="366" y="349"/>
                        <a:pt x="422" y="441"/>
                        <a:pt x="478" y="483"/>
                      </a:cubicBezTo>
                      <a:cubicBezTo>
                        <a:pt x="481" y="484"/>
                        <a:pt x="479" y="487"/>
                        <a:pt x="477" y="487"/>
                      </a:cubicBezTo>
                      <a:cubicBezTo>
                        <a:pt x="477" y="487"/>
                        <a:pt x="477" y="487"/>
                        <a:pt x="78" y="487"/>
                      </a:cubicBezTo>
                      <a:cubicBezTo>
                        <a:pt x="76" y="487"/>
                        <a:pt x="75" y="486"/>
                        <a:pt x="75" y="484"/>
                      </a:cubicBezTo>
                      <a:cubicBezTo>
                        <a:pt x="77" y="479"/>
                        <a:pt x="78" y="474"/>
                        <a:pt x="78" y="468"/>
                      </a:cubicBezTo>
                      <a:cubicBezTo>
                        <a:pt x="78" y="436"/>
                        <a:pt x="52" y="411"/>
                        <a:pt x="21" y="411"/>
                      </a:cubicBezTo>
                      <a:cubicBezTo>
                        <a:pt x="15" y="411"/>
                        <a:pt x="9" y="412"/>
                        <a:pt x="4" y="414"/>
                      </a:cubicBezTo>
                      <a:cubicBezTo>
                        <a:pt x="2" y="415"/>
                        <a:pt x="0" y="414"/>
                        <a:pt x="0" y="412"/>
                      </a:cubicBezTo>
                      <a:cubicBezTo>
                        <a:pt x="0" y="412"/>
                        <a:pt x="0" y="412"/>
                        <a:pt x="0" y="77"/>
                      </a:cubicBezTo>
                      <a:cubicBezTo>
                        <a:pt x="0" y="75"/>
                        <a:pt x="2" y="74"/>
                        <a:pt x="4" y="75"/>
                      </a:cubicBezTo>
                      <a:cubicBezTo>
                        <a:pt x="9" y="76"/>
                        <a:pt x="15" y="78"/>
                        <a:pt x="21" y="78"/>
                      </a:cubicBezTo>
                      <a:cubicBezTo>
                        <a:pt x="52" y="78"/>
                        <a:pt x="78" y="52"/>
                        <a:pt x="78" y="21"/>
                      </a:cubicBezTo>
                      <a:cubicBezTo>
                        <a:pt x="78" y="15"/>
                        <a:pt x="77" y="9"/>
                        <a:pt x="75" y="3"/>
                      </a:cubicBezTo>
                      <a:cubicBezTo>
                        <a:pt x="75" y="2"/>
                        <a:pt x="76" y="0"/>
                        <a:pt x="77" y="0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3152" tIns="36576" rIns="73152" bIns="3657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53" name="Group 52"/>
          <p:cNvGrpSpPr/>
          <p:nvPr/>
        </p:nvGrpSpPr>
        <p:grpSpPr>
          <a:xfrm>
            <a:off x="1640249" y="3634294"/>
            <a:ext cx="787506" cy="787507"/>
            <a:chOff x="1128353" y="2016209"/>
            <a:chExt cx="1534628" cy="1534629"/>
          </a:xfrm>
        </p:grpSpPr>
        <p:sp>
          <p:nvSpPr>
            <p:cNvPr id="54" name="Oval 53"/>
            <p:cNvSpPr>
              <a:spLocks/>
            </p:cNvSpPr>
            <p:nvPr/>
          </p:nvSpPr>
          <p:spPr>
            <a:xfrm>
              <a:off x="1128353" y="2016209"/>
              <a:ext cx="1534628" cy="1534629"/>
            </a:xfrm>
            <a:prstGeom prst="ellipse">
              <a:avLst/>
            </a:prstGeom>
            <a:solidFill>
              <a:srgbClr val="FFFFFF"/>
            </a:solidFill>
            <a:ln w="6096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24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55" name="bcgIcons_StrategyOperatingModel">
              <a:extLst>
                <a:ext uri="{FF2B5EF4-FFF2-40B4-BE49-F238E27FC236}">
                  <a16:creationId xmlns:a16="http://schemas.microsoft.com/office/drawing/2014/main" id="{26FA0774-A2B2-42AD-9FE1-017C17BD8F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37908" y="2152392"/>
              <a:ext cx="1315516" cy="1316735"/>
              <a:chOff x="1682" y="0"/>
              <a:chExt cx="4316" cy="4320"/>
            </a:xfrm>
          </p:grpSpPr>
          <p:sp>
            <p:nvSpPr>
              <p:cNvPr id="56" name="AutoShape 28">
                <a:extLst>
                  <a:ext uri="{FF2B5EF4-FFF2-40B4-BE49-F238E27FC236}">
                    <a16:creationId xmlns:a16="http://schemas.microsoft.com/office/drawing/2014/main" id="{20DFB721-FD2B-4E74-8AB5-FD6582ECCC3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30">
                <a:extLst>
                  <a:ext uri="{FF2B5EF4-FFF2-40B4-BE49-F238E27FC236}">
                    <a16:creationId xmlns:a16="http://schemas.microsoft.com/office/drawing/2014/main" id="{F042C857-1039-4E83-A5FB-D00C4ED320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452"/>
                <a:ext cx="1904" cy="2374"/>
              </a:xfrm>
              <a:custGeom>
                <a:avLst/>
                <a:gdLst>
                  <a:gd name="T0" fmla="*/ 776 w 1016"/>
                  <a:gd name="T1" fmla="*/ 339 h 1266"/>
                  <a:gd name="T2" fmla="*/ 726 w 1016"/>
                  <a:gd name="T3" fmla="*/ 293 h 1266"/>
                  <a:gd name="T4" fmla="*/ 511 w 1016"/>
                  <a:gd name="T5" fmla="*/ 146 h 1266"/>
                  <a:gd name="T6" fmla="*/ 462 w 1016"/>
                  <a:gd name="T7" fmla="*/ 128 h 1266"/>
                  <a:gd name="T8" fmla="*/ 472 w 1016"/>
                  <a:gd name="T9" fmla="*/ 79 h 1266"/>
                  <a:gd name="T10" fmla="*/ 440 w 1016"/>
                  <a:gd name="T11" fmla="*/ 0 h 1266"/>
                  <a:gd name="T12" fmla="*/ 272 w 1016"/>
                  <a:gd name="T13" fmla="*/ 135 h 1266"/>
                  <a:gd name="T14" fmla="*/ 43 w 1016"/>
                  <a:gd name="T15" fmla="*/ 449 h 1266"/>
                  <a:gd name="T16" fmla="*/ 159 w 1016"/>
                  <a:gd name="T17" fmla="*/ 644 h 1266"/>
                  <a:gd name="T18" fmla="*/ 24 w 1016"/>
                  <a:gd name="T19" fmla="*/ 566 h 1266"/>
                  <a:gd name="T20" fmla="*/ 113 w 1016"/>
                  <a:gd name="T21" fmla="*/ 837 h 1266"/>
                  <a:gd name="T22" fmla="*/ 32 w 1016"/>
                  <a:gd name="T23" fmla="*/ 809 h 1266"/>
                  <a:gd name="T24" fmla="*/ 105 w 1016"/>
                  <a:gd name="T25" fmla="*/ 1017 h 1266"/>
                  <a:gd name="T26" fmla="*/ 43 w 1016"/>
                  <a:gd name="T27" fmla="*/ 1077 h 1266"/>
                  <a:gd name="T28" fmla="*/ 56 w 1016"/>
                  <a:gd name="T29" fmla="*/ 1266 h 1266"/>
                  <a:gd name="T30" fmla="*/ 88 w 1016"/>
                  <a:gd name="T31" fmla="*/ 1058 h 1266"/>
                  <a:gd name="T32" fmla="*/ 206 w 1016"/>
                  <a:gd name="T33" fmla="*/ 1079 h 1266"/>
                  <a:gd name="T34" fmla="*/ 66 w 1016"/>
                  <a:gd name="T35" fmla="*/ 906 h 1266"/>
                  <a:gd name="T36" fmla="*/ 218 w 1016"/>
                  <a:gd name="T37" fmla="*/ 953 h 1266"/>
                  <a:gd name="T38" fmla="*/ 246 w 1016"/>
                  <a:gd name="T39" fmla="*/ 919 h 1266"/>
                  <a:gd name="T40" fmla="*/ 54 w 1016"/>
                  <a:gd name="T41" fmla="*/ 612 h 1266"/>
                  <a:gd name="T42" fmla="*/ 283 w 1016"/>
                  <a:gd name="T43" fmla="*/ 791 h 1266"/>
                  <a:gd name="T44" fmla="*/ 87 w 1016"/>
                  <a:gd name="T45" fmla="*/ 445 h 1266"/>
                  <a:gd name="T46" fmla="*/ 308 w 1016"/>
                  <a:gd name="T47" fmla="*/ 160 h 1266"/>
                  <a:gd name="T48" fmla="*/ 428 w 1016"/>
                  <a:gd name="T49" fmla="*/ 47 h 1266"/>
                  <a:gd name="T50" fmla="*/ 422 w 1016"/>
                  <a:gd name="T51" fmla="*/ 107 h 1266"/>
                  <a:gd name="T52" fmla="*/ 496 w 1016"/>
                  <a:gd name="T53" fmla="*/ 188 h 1266"/>
                  <a:gd name="T54" fmla="*/ 687 w 1016"/>
                  <a:gd name="T55" fmla="*/ 312 h 1266"/>
                  <a:gd name="T56" fmla="*/ 750 w 1016"/>
                  <a:gd name="T57" fmla="*/ 375 h 1266"/>
                  <a:gd name="T58" fmla="*/ 889 w 1016"/>
                  <a:gd name="T59" fmla="*/ 694 h 1266"/>
                  <a:gd name="T60" fmla="*/ 658 w 1016"/>
                  <a:gd name="T61" fmla="*/ 593 h 1266"/>
                  <a:gd name="T62" fmla="*/ 485 w 1016"/>
                  <a:gd name="T63" fmla="*/ 647 h 1266"/>
                  <a:gd name="T64" fmla="*/ 457 w 1016"/>
                  <a:gd name="T65" fmla="*/ 677 h 1266"/>
                  <a:gd name="T66" fmla="*/ 522 w 1016"/>
                  <a:gd name="T67" fmla="*/ 784 h 1266"/>
                  <a:gd name="T68" fmla="*/ 704 w 1016"/>
                  <a:gd name="T69" fmla="*/ 1266 h 1266"/>
                  <a:gd name="T70" fmla="*/ 708 w 1016"/>
                  <a:gd name="T71" fmla="*/ 962 h 1266"/>
                  <a:gd name="T72" fmla="*/ 547 w 1016"/>
                  <a:gd name="T73" fmla="*/ 746 h 1266"/>
                  <a:gd name="T74" fmla="*/ 609 w 1016"/>
                  <a:gd name="T75" fmla="*/ 657 h 1266"/>
                  <a:gd name="T76" fmla="*/ 707 w 1016"/>
                  <a:gd name="T77" fmla="*/ 668 h 1266"/>
                  <a:gd name="T78" fmla="*/ 961 w 1016"/>
                  <a:gd name="T79" fmla="*/ 492 h 1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16" h="1266">
                    <a:moveTo>
                      <a:pt x="961" y="492"/>
                    </a:moveTo>
                    <a:cubicBezTo>
                      <a:pt x="950" y="466"/>
                      <a:pt x="887" y="418"/>
                      <a:pt x="776" y="339"/>
                    </a:cubicBezTo>
                    <a:cubicBezTo>
                      <a:pt x="758" y="327"/>
                      <a:pt x="740" y="314"/>
                      <a:pt x="737" y="311"/>
                    </a:cubicBezTo>
                    <a:cubicBezTo>
                      <a:pt x="734" y="308"/>
                      <a:pt x="730" y="301"/>
                      <a:pt x="726" y="293"/>
                    </a:cubicBezTo>
                    <a:cubicBezTo>
                      <a:pt x="719" y="277"/>
                      <a:pt x="709" y="256"/>
                      <a:pt x="687" y="231"/>
                    </a:cubicBezTo>
                    <a:cubicBezTo>
                      <a:pt x="661" y="200"/>
                      <a:pt x="592" y="174"/>
                      <a:pt x="511" y="146"/>
                    </a:cubicBezTo>
                    <a:cubicBezTo>
                      <a:pt x="490" y="139"/>
                      <a:pt x="468" y="131"/>
                      <a:pt x="463" y="129"/>
                    </a:cubicBezTo>
                    <a:cubicBezTo>
                      <a:pt x="463" y="129"/>
                      <a:pt x="463" y="129"/>
                      <a:pt x="462" y="128"/>
                    </a:cubicBezTo>
                    <a:cubicBezTo>
                      <a:pt x="463" y="126"/>
                      <a:pt x="464" y="122"/>
                      <a:pt x="465" y="118"/>
                    </a:cubicBezTo>
                    <a:cubicBezTo>
                      <a:pt x="467" y="109"/>
                      <a:pt x="471" y="96"/>
                      <a:pt x="472" y="79"/>
                    </a:cubicBezTo>
                    <a:cubicBezTo>
                      <a:pt x="477" y="29"/>
                      <a:pt x="463" y="11"/>
                      <a:pt x="457" y="6"/>
                    </a:cubicBezTo>
                    <a:cubicBezTo>
                      <a:pt x="452" y="2"/>
                      <a:pt x="446" y="0"/>
                      <a:pt x="440" y="0"/>
                    </a:cubicBezTo>
                    <a:cubicBezTo>
                      <a:pt x="358" y="7"/>
                      <a:pt x="298" y="97"/>
                      <a:pt x="275" y="130"/>
                    </a:cubicBezTo>
                    <a:cubicBezTo>
                      <a:pt x="272" y="135"/>
                      <a:pt x="272" y="135"/>
                      <a:pt x="272" y="135"/>
                    </a:cubicBezTo>
                    <a:cubicBezTo>
                      <a:pt x="255" y="160"/>
                      <a:pt x="98" y="327"/>
                      <a:pt x="78" y="344"/>
                    </a:cubicBezTo>
                    <a:cubicBezTo>
                      <a:pt x="43" y="372"/>
                      <a:pt x="43" y="448"/>
                      <a:pt x="43" y="449"/>
                    </a:cubicBezTo>
                    <a:cubicBezTo>
                      <a:pt x="43" y="457"/>
                      <a:pt x="43" y="463"/>
                      <a:pt x="148" y="628"/>
                    </a:cubicBezTo>
                    <a:cubicBezTo>
                      <a:pt x="152" y="633"/>
                      <a:pt x="155" y="638"/>
                      <a:pt x="159" y="644"/>
                    </a:cubicBezTo>
                    <a:cubicBezTo>
                      <a:pt x="66" y="561"/>
                      <a:pt x="55" y="559"/>
                      <a:pt x="50" y="558"/>
                    </a:cubicBezTo>
                    <a:cubicBezTo>
                      <a:pt x="40" y="556"/>
                      <a:pt x="31" y="559"/>
                      <a:pt x="24" y="566"/>
                    </a:cubicBezTo>
                    <a:cubicBezTo>
                      <a:pt x="0" y="592"/>
                      <a:pt x="12" y="693"/>
                      <a:pt x="17" y="711"/>
                    </a:cubicBezTo>
                    <a:cubicBezTo>
                      <a:pt x="22" y="728"/>
                      <a:pt x="66" y="782"/>
                      <a:pt x="113" y="837"/>
                    </a:cubicBezTo>
                    <a:cubicBezTo>
                      <a:pt x="90" y="822"/>
                      <a:pt x="71" y="811"/>
                      <a:pt x="64" y="807"/>
                    </a:cubicBezTo>
                    <a:cubicBezTo>
                      <a:pt x="53" y="801"/>
                      <a:pt x="41" y="801"/>
                      <a:pt x="32" y="809"/>
                    </a:cubicBezTo>
                    <a:cubicBezTo>
                      <a:pt x="3" y="831"/>
                      <a:pt x="24" y="918"/>
                      <a:pt x="24" y="919"/>
                    </a:cubicBezTo>
                    <a:cubicBezTo>
                      <a:pt x="28" y="935"/>
                      <a:pt x="63" y="974"/>
                      <a:pt x="105" y="1017"/>
                    </a:cubicBezTo>
                    <a:cubicBezTo>
                      <a:pt x="74" y="1010"/>
                      <a:pt x="66" y="1015"/>
                      <a:pt x="61" y="1017"/>
                    </a:cubicBezTo>
                    <a:cubicBezTo>
                      <a:pt x="47" y="1025"/>
                      <a:pt x="44" y="1044"/>
                      <a:pt x="43" y="1077"/>
                    </a:cubicBezTo>
                    <a:cubicBezTo>
                      <a:pt x="43" y="1098"/>
                      <a:pt x="44" y="1125"/>
                      <a:pt x="47" y="1160"/>
                    </a:cubicBezTo>
                    <a:cubicBezTo>
                      <a:pt x="49" y="1204"/>
                      <a:pt x="54" y="1248"/>
                      <a:pt x="56" y="1266"/>
                    </a:cubicBezTo>
                    <a:cubicBezTo>
                      <a:pt x="100" y="1266"/>
                      <a:pt x="100" y="1266"/>
                      <a:pt x="100" y="1266"/>
                    </a:cubicBezTo>
                    <a:cubicBezTo>
                      <a:pt x="91" y="1185"/>
                      <a:pt x="85" y="1091"/>
                      <a:pt x="88" y="1058"/>
                    </a:cubicBezTo>
                    <a:cubicBezTo>
                      <a:pt x="107" y="1061"/>
                      <a:pt x="147" y="1075"/>
                      <a:pt x="179" y="1088"/>
                    </a:cubicBezTo>
                    <a:cubicBezTo>
                      <a:pt x="189" y="1092"/>
                      <a:pt x="200" y="1088"/>
                      <a:pt x="206" y="1079"/>
                    </a:cubicBezTo>
                    <a:cubicBezTo>
                      <a:pt x="212" y="1070"/>
                      <a:pt x="211" y="1059"/>
                      <a:pt x="203" y="1051"/>
                    </a:cubicBezTo>
                    <a:cubicBezTo>
                      <a:pt x="143" y="994"/>
                      <a:pt x="74" y="922"/>
                      <a:pt x="66" y="906"/>
                    </a:cubicBezTo>
                    <a:cubicBezTo>
                      <a:pt x="63" y="893"/>
                      <a:pt x="60" y="872"/>
                      <a:pt x="60" y="856"/>
                    </a:cubicBezTo>
                    <a:cubicBezTo>
                      <a:pt x="107" y="884"/>
                      <a:pt x="217" y="952"/>
                      <a:pt x="218" y="953"/>
                    </a:cubicBezTo>
                    <a:cubicBezTo>
                      <a:pt x="228" y="958"/>
                      <a:pt x="240" y="956"/>
                      <a:pt x="247" y="948"/>
                    </a:cubicBezTo>
                    <a:cubicBezTo>
                      <a:pt x="254" y="940"/>
                      <a:pt x="254" y="927"/>
                      <a:pt x="246" y="919"/>
                    </a:cubicBezTo>
                    <a:cubicBezTo>
                      <a:pt x="161" y="826"/>
                      <a:pt x="68" y="718"/>
                      <a:pt x="60" y="698"/>
                    </a:cubicBezTo>
                    <a:cubicBezTo>
                      <a:pt x="55" y="680"/>
                      <a:pt x="53" y="637"/>
                      <a:pt x="54" y="612"/>
                    </a:cubicBezTo>
                    <a:cubicBezTo>
                      <a:pt x="92" y="642"/>
                      <a:pt x="177" y="719"/>
                      <a:pt x="254" y="790"/>
                    </a:cubicBezTo>
                    <a:cubicBezTo>
                      <a:pt x="262" y="798"/>
                      <a:pt x="275" y="798"/>
                      <a:pt x="283" y="791"/>
                    </a:cubicBezTo>
                    <a:cubicBezTo>
                      <a:pt x="292" y="784"/>
                      <a:pt x="294" y="771"/>
                      <a:pt x="287" y="762"/>
                    </a:cubicBezTo>
                    <a:cubicBezTo>
                      <a:pt x="216" y="653"/>
                      <a:pt x="102" y="474"/>
                      <a:pt x="87" y="445"/>
                    </a:cubicBezTo>
                    <a:cubicBezTo>
                      <a:pt x="88" y="425"/>
                      <a:pt x="94" y="387"/>
                      <a:pt x="106" y="378"/>
                    </a:cubicBezTo>
                    <a:cubicBezTo>
                      <a:pt x="129" y="358"/>
                      <a:pt x="289" y="188"/>
                      <a:pt x="308" y="160"/>
                    </a:cubicBezTo>
                    <a:cubicBezTo>
                      <a:pt x="309" y="158"/>
                      <a:pt x="311" y="157"/>
                      <a:pt x="312" y="155"/>
                    </a:cubicBezTo>
                    <a:cubicBezTo>
                      <a:pt x="328" y="131"/>
                      <a:pt x="374" y="63"/>
                      <a:pt x="428" y="47"/>
                    </a:cubicBezTo>
                    <a:cubicBezTo>
                      <a:pt x="429" y="53"/>
                      <a:pt x="430" y="62"/>
                      <a:pt x="428" y="75"/>
                    </a:cubicBezTo>
                    <a:cubicBezTo>
                      <a:pt x="427" y="88"/>
                      <a:pt x="425" y="98"/>
                      <a:pt x="422" y="107"/>
                    </a:cubicBezTo>
                    <a:cubicBezTo>
                      <a:pt x="418" y="125"/>
                      <a:pt x="412" y="149"/>
                      <a:pt x="440" y="166"/>
                    </a:cubicBezTo>
                    <a:cubicBezTo>
                      <a:pt x="448" y="171"/>
                      <a:pt x="464" y="177"/>
                      <a:pt x="496" y="188"/>
                    </a:cubicBezTo>
                    <a:cubicBezTo>
                      <a:pt x="544" y="204"/>
                      <a:pt x="633" y="235"/>
                      <a:pt x="653" y="259"/>
                    </a:cubicBezTo>
                    <a:cubicBezTo>
                      <a:pt x="672" y="280"/>
                      <a:pt x="680" y="298"/>
                      <a:pt x="687" y="312"/>
                    </a:cubicBezTo>
                    <a:cubicBezTo>
                      <a:pt x="693" y="324"/>
                      <a:pt x="698" y="335"/>
                      <a:pt x="708" y="344"/>
                    </a:cubicBezTo>
                    <a:cubicBezTo>
                      <a:pt x="712" y="348"/>
                      <a:pt x="724" y="356"/>
                      <a:pt x="750" y="375"/>
                    </a:cubicBezTo>
                    <a:cubicBezTo>
                      <a:pt x="794" y="406"/>
                      <a:pt x="910" y="488"/>
                      <a:pt x="921" y="509"/>
                    </a:cubicBezTo>
                    <a:cubicBezTo>
                      <a:pt x="931" y="533"/>
                      <a:pt x="965" y="658"/>
                      <a:pt x="889" y="694"/>
                    </a:cubicBezTo>
                    <a:cubicBezTo>
                      <a:pt x="842" y="716"/>
                      <a:pt x="779" y="668"/>
                      <a:pt x="733" y="633"/>
                    </a:cubicBezTo>
                    <a:cubicBezTo>
                      <a:pt x="701" y="608"/>
                      <a:pt x="679" y="591"/>
                      <a:pt x="658" y="593"/>
                    </a:cubicBezTo>
                    <a:cubicBezTo>
                      <a:pt x="643" y="595"/>
                      <a:pt x="620" y="604"/>
                      <a:pt x="592" y="616"/>
                    </a:cubicBezTo>
                    <a:cubicBezTo>
                      <a:pt x="561" y="629"/>
                      <a:pt x="502" y="653"/>
                      <a:pt x="485" y="647"/>
                    </a:cubicBezTo>
                    <a:cubicBezTo>
                      <a:pt x="476" y="644"/>
                      <a:pt x="467" y="646"/>
                      <a:pt x="461" y="652"/>
                    </a:cubicBezTo>
                    <a:cubicBezTo>
                      <a:pt x="455" y="659"/>
                      <a:pt x="453" y="668"/>
                      <a:pt x="457" y="677"/>
                    </a:cubicBezTo>
                    <a:cubicBezTo>
                      <a:pt x="458" y="679"/>
                      <a:pt x="489" y="746"/>
                      <a:pt x="514" y="775"/>
                    </a:cubicBezTo>
                    <a:cubicBezTo>
                      <a:pt x="515" y="777"/>
                      <a:pt x="518" y="780"/>
                      <a:pt x="522" y="784"/>
                    </a:cubicBezTo>
                    <a:cubicBezTo>
                      <a:pt x="701" y="983"/>
                      <a:pt x="767" y="1153"/>
                      <a:pt x="706" y="1262"/>
                    </a:cubicBezTo>
                    <a:cubicBezTo>
                      <a:pt x="705" y="1263"/>
                      <a:pt x="704" y="1265"/>
                      <a:pt x="704" y="1266"/>
                    </a:cubicBezTo>
                    <a:cubicBezTo>
                      <a:pt x="753" y="1266"/>
                      <a:pt x="753" y="1266"/>
                      <a:pt x="753" y="1266"/>
                    </a:cubicBezTo>
                    <a:cubicBezTo>
                      <a:pt x="789" y="1184"/>
                      <a:pt x="774" y="1082"/>
                      <a:pt x="708" y="962"/>
                    </a:cubicBezTo>
                    <a:cubicBezTo>
                      <a:pt x="653" y="864"/>
                      <a:pt x="579" y="782"/>
                      <a:pt x="554" y="754"/>
                    </a:cubicBezTo>
                    <a:cubicBezTo>
                      <a:pt x="551" y="751"/>
                      <a:pt x="548" y="748"/>
                      <a:pt x="547" y="746"/>
                    </a:cubicBezTo>
                    <a:cubicBezTo>
                      <a:pt x="537" y="734"/>
                      <a:pt x="523" y="710"/>
                      <a:pt x="512" y="690"/>
                    </a:cubicBezTo>
                    <a:cubicBezTo>
                      <a:pt x="539" y="685"/>
                      <a:pt x="571" y="672"/>
                      <a:pt x="609" y="657"/>
                    </a:cubicBezTo>
                    <a:cubicBezTo>
                      <a:pt x="629" y="649"/>
                      <a:pt x="652" y="639"/>
                      <a:pt x="662" y="637"/>
                    </a:cubicBezTo>
                    <a:cubicBezTo>
                      <a:pt x="670" y="640"/>
                      <a:pt x="691" y="656"/>
                      <a:pt x="707" y="668"/>
                    </a:cubicBezTo>
                    <a:cubicBezTo>
                      <a:pt x="758" y="708"/>
                      <a:pt x="836" y="768"/>
                      <a:pt x="908" y="734"/>
                    </a:cubicBezTo>
                    <a:cubicBezTo>
                      <a:pt x="1016" y="683"/>
                      <a:pt x="977" y="530"/>
                      <a:pt x="961" y="492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31">
                <a:extLst>
                  <a:ext uri="{FF2B5EF4-FFF2-40B4-BE49-F238E27FC236}">
                    <a16:creationId xmlns:a16="http://schemas.microsoft.com/office/drawing/2014/main" id="{E6B942D0-15F2-4667-B671-2CFA91ADC3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08" y="2908"/>
                <a:ext cx="2068" cy="964"/>
              </a:xfrm>
              <a:custGeom>
                <a:avLst/>
                <a:gdLst>
                  <a:gd name="T0" fmla="*/ 889 w 1104"/>
                  <a:gd name="T1" fmla="*/ 233 h 514"/>
                  <a:gd name="T2" fmla="*/ 1092 w 1104"/>
                  <a:gd name="T3" fmla="*/ 478 h 514"/>
                  <a:gd name="T4" fmla="*/ 1075 w 1104"/>
                  <a:gd name="T5" fmla="*/ 514 h 514"/>
                  <a:gd name="T6" fmla="*/ 29 w 1104"/>
                  <a:gd name="T7" fmla="*/ 514 h 514"/>
                  <a:gd name="T8" fmla="*/ 12 w 1104"/>
                  <a:gd name="T9" fmla="*/ 478 h 514"/>
                  <a:gd name="T10" fmla="*/ 215 w 1104"/>
                  <a:gd name="T11" fmla="*/ 233 h 514"/>
                  <a:gd name="T12" fmla="*/ 232 w 1104"/>
                  <a:gd name="T13" fmla="*/ 225 h 514"/>
                  <a:gd name="T14" fmla="*/ 872 w 1104"/>
                  <a:gd name="T15" fmla="*/ 225 h 514"/>
                  <a:gd name="T16" fmla="*/ 889 w 1104"/>
                  <a:gd name="T17" fmla="*/ 233 h 514"/>
                  <a:gd name="T18" fmla="*/ 961 w 1104"/>
                  <a:gd name="T19" fmla="*/ 0 h 514"/>
                  <a:gd name="T20" fmla="*/ 143 w 1104"/>
                  <a:gd name="T21" fmla="*/ 0 h 514"/>
                  <a:gd name="T22" fmla="*/ 133 w 1104"/>
                  <a:gd name="T23" fmla="*/ 10 h 514"/>
                  <a:gd name="T24" fmla="*/ 133 w 1104"/>
                  <a:gd name="T25" fmla="*/ 172 h 514"/>
                  <a:gd name="T26" fmla="*/ 143 w 1104"/>
                  <a:gd name="T27" fmla="*/ 182 h 514"/>
                  <a:gd name="T28" fmla="*/ 961 w 1104"/>
                  <a:gd name="T29" fmla="*/ 182 h 514"/>
                  <a:gd name="T30" fmla="*/ 971 w 1104"/>
                  <a:gd name="T31" fmla="*/ 172 h 514"/>
                  <a:gd name="T32" fmla="*/ 971 w 1104"/>
                  <a:gd name="T33" fmla="*/ 10 h 514"/>
                  <a:gd name="T34" fmla="*/ 961 w 1104"/>
                  <a:gd name="T35" fmla="*/ 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04" h="514">
                    <a:moveTo>
                      <a:pt x="889" y="233"/>
                    </a:moveTo>
                    <a:cubicBezTo>
                      <a:pt x="1092" y="478"/>
                      <a:pt x="1092" y="478"/>
                      <a:pt x="1092" y="478"/>
                    </a:cubicBezTo>
                    <a:cubicBezTo>
                      <a:pt x="1104" y="492"/>
                      <a:pt x="1094" y="514"/>
                      <a:pt x="1075" y="514"/>
                    </a:cubicBezTo>
                    <a:cubicBezTo>
                      <a:pt x="29" y="514"/>
                      <a:pt x="29" y="514"/>
                      <a:pt x="29" y="514"/>
                    </a:cubicBezTo>
                    <a:cubicBezTo>
                      <a:pt x="10" y="514"/>
                      <a:pt x="0" y="492"/>
                      <a:pt x="12" y="478"/>
                    </a:cubicBezTo>
                    <a:cubicBezTo>
                      <a:pt x="215" y="233"/>
                      <a:pt x="215" y="233"/>
                      <a:pt x="215" y="233"/>
                    </a:cubicBezTo>
                    <a:cubicBezTo>
                      <a:pt x="219" y="228"/>
                      <a:pt x="226" y="225"/>
                      <a:pt x="232" y="225"/>
                    </a:cubicBezTo>
                    <a:cubicBezTo>
                      <a:pt x="872" y="225"/>
                      <a:pt x="872" y="225"/>
                      <a:pt x="872" y="225"/>
                    </a:cubicBezTo>
                    <a:cubicBezTo>
                      <a:pt x="878" y="225"/>
                      <a:pt x="885" y="228"/>
                      <a:pt x="889" y="233"/>
                    </a:cubicBezTo>
                    <a:close/>
                    <a:moveTo>
                      <a:pt x="961" y="0"/>
                    </a:moveTo>
                    <a:cubicBezTo>
                      <a:pt x="143" y="0"/>
                      <a:pt x="143" y="0"/>
                      <a:pt x="143" y="0"/>
                    </a:cubicBezTo>
                    <a:cubicBezTo>
                      <a:pt x="138" y="0"/>
                      <a:pt x="133" y="4"/>
                      <a:pt x="133" y="10"/>
                    </a:cubicBezTo>
                    <a:cubicBezTo>
                      <a:pt x="133" y="172"/>
                      <a:pt x="133" y="172"/>
                      <a:pt x="133" y="172"/>
                    </a:cubicBezTo>
                    <a:cubicBezTo>
                      <a:pt x="133" y="177"/>
                      <a:pt x="138" y="182"/>
                      <a:pt x="143" y="182"/>
                    </a:cubicBezTo>
                    <a:cubicBezTo>
                      <a:pt x="961" y="182"/>
                      <a:pt x="961" y="182"/>
                      <a:pt x="961" y="182"/>
                    </a:cubicBezTo>
                    <a:cubicBezTo>
                      <a:pt x="966" y="182"/>
                      <a:pt x="971" y="177"/>
                      <a:pt x="971" y="172"/>
                    </a:cubicBezTo>
                    <a:cubicBezTo>
                      <a:pt x="971" y="10"/>
                      <a:pt x="971" y="10"/>
                      <a:pt x="971" y="10"/>
                    </a:cubicBezTo>
                    <a:cubicBezTo>
                      <a:pt x="971" y="4"/>
                      <a:pt x="966" y="0"/>
                      <a:pt x="961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3152" tIns="36576" rIns="73152" bIns="3657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9" name="ee4pContent1"/>
          <p:cNvSpPr txBox="1"/>
          <p:nvPr/>
        </p:nvSpPr>
        <p:spPr>
          <a:xfrm>
            <a:off x="630001" y="3307988"/>
            <a:ext cx="11223323" cy="425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7F7F7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B61872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7F7F7F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7F7F7F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7F7F7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7F7F7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B61872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B61872"/>
                </a:solidFill>
                <a:latin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en-US" sz="1400" dirty="0">
                <a:solidFill>
                  <a:schemeClr val="tx1"/>
                </a:solidFill>
              </a:rPr>
              <a:t>Organize procurement resources to focus on specific areas of spend, assigning end-to-end management of a spend category to one resource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702847" y="1852285"/>
            <a:ext cx="787506" cy="787507"/>
            <a:chOff x="314709" y="1937123"/>
            <a:chExt cx="787506" cy="787507"/>
          </a:xfrm>
        </p:grpSpPr>
        <p:sp>
          <p:nvSpPr>
            <p:cNvPr id="62" name="Oval 61"/>
            <p:cNvSpPr>
              <a:spLocks/>
            </p:cNvSpPr>
            <p:nvPr/>
          </p:nvSpPr>
          <p:spPr>
            <a:xfrm>
              <a:off x="314709" y="1937123"/>
              <a:ext cx="787506" cy="787507"/>
            </a:xfrm>
            <a:prstGeom prst="ellipse">
              <a:avLst/>
            </a:prstGeom>
            <a:solidFill>
              <a:srgbClr val="FFFFFF"/>
            </a:solidFill>
            <a:ln w="60960" cap="rnd">
              <a:gradFill flip="none" rotWithShape="1">
                <a:gsLst>
                  <a:gs pos="0">
                    <a:srgbClr val="634096"/>
                  </a:gs>
                  <a:gs pos="100000">
                    <a:srgbClr val="7030A0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24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8" name="Group 67"/>
            <p:cNvGrpSpPr>
              <a:grpSpLocks noChangeAspect="1"/>
            </p:cNvGrpSpPr>
            <p:nvPr/>
          </p:nvGrpSpPr>
          <p:grpSpPr>
            <a:xfrm>
              <a:off x="370615" y="1993030"/>
              <a:ext cx="675693" cy="675693"/>
              <a:chOff x="5273040" y="2606040"/>
              <a:chExt cx="1645920" cy="1645920"/>
            </a:xfrm>
          </p:grpSpPr>
          <p:sp>
            <p:nvSpPr>
              <p:cNvPr id="69" name="AutoShape 8"/>
              <p:cNvSpPr>
                <a:spLocks noChangeAspect="1" noChangeArrowheads="1" noTextEdit="1"/>
              </p:cNvSpPr>
              <p:nvPr/>
            </p:nvSpPr>
            <p:spPr bwMode="auto">
              <a:xfrm>
                <a:off x="5273040" y="2606040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70" name="Group 69"/>
              <p:cNvGrpSpPr/>
              <p:nvPr/>
            </p:nvGrpSpPr>
            <p:grpSpPr>
              <a:xfrm>
                <a:off x="5539740" y="2872740"/>
                <a:ext cx="1112520" cy="1112520"/>
                <a:chOff x="5539740" y="2872740"/>
                <a:chExt cx="1112520" cy="1112520"/>
              </a:xfrm>
            </p:grpSpPr>
            <p:sp>
              <p:nvSpPr>
                <p:cNvPr id="71" name="Freeform 10"/>
                <p:cNvSpPr>
                  <a:spLocks noEditPoints="1"/>
                </p:cNvSpPr>
                <p:nvPr/>
              </p:nvSpPr>
              <p:spPr bwMode="auto">
                <a:xfrm>
                  <a:off x="5601462" y="2933700"/>
                  <a:ext cx="989838" cy="990600"/>
                </a:xfrm>
                <a:custGeom>
                  <a:avLst/>
                  <a:gdLst>
                    <a:gd name="T0" fmla="*/ 660 w 1386"/>
                    <a:gd name="T1" fmla="*/ 1024 h 1387"/>
                    <a:gd name="T2" fmla="*/ 678 w 1386"/>
                    <a:gd name="T3" fmla="*/ 1027 h 1387"/>
                    <a:gd name="T4" fmla="*/ 679 w 1386"/>
                    <a:gd name="T5" fmla="*/ 1027 h 1387"/>
                    <a:gd name="T6" fmla="*/ 733 w 1386"/>
                    <a:gd name="T7" fmla="*/ 967 h 1387"/>
                    <a:gd name="T8" fmla="*/ 710 w 1386"/>
                    <a:gd name="T9" fmla="*/ 695 h 1387"/>
                    <a:gd name="T10" fmla="*/ 978 w 1386"/>
                    <a:gd name="T11" fmla="*/ 672 h 1387"/>
                    <a:gd name="T12" fmla="*/ 979 w 1386"/>
                    <a:gd name="T13" fmla="*/ 672 h 1387"/>
                    <a:gd name="T14" fmla="*/ 989 w 1386"/>
                    <a:gd name="T15" fmla="*/ 676 h 1387"/>
                    <a:gd name="T16" fmla="*/ 993 w 1386"/>
                    <a:gd name="T17" fmla="*/ 685 h 1387"/>
                    <a:gd name="T18" fmla="*/ 993 w 1386"/>
                    <a:gd name="T19" fmla="*/ 689 h 1387"/>
                    <a:gd name="T20" fmla="*/ 994 w 1386"/>
                    <a:gd name="T21" fmla="*/ 690 h 1387"/>
                    <a:gd name="T22" fmla="*/ 993 w 1386"/>
                    <a:gd name="T23" fmla="*/ 692 h 1387"/>
                    <a:gd name="T24" fmla="*/ 968 w 1386"/>
                    <a:gd name="T25" fmla="*/ 813 h 1387"/>
                    <a:gd name="T26" fmla="*/ 1108 w 1386"/>
                    <a:gd name="T27" fmla="*/ 953 h 1387"/>
                    <a:gd name="T28" fmla="*/ 1249 w 1386"/>
                    <a:gd name="T29" fmla="*/ 813 h 1387"/>
                    <a:gd name="T30" fmla="*/ 1224 w 1386"/>
                    <a:gd name="T31" fmla="*/ 692 h 1387"/>
                    <a:gd name="T32" fmla="*/ 1223 w 1386"/>
                    <a:gd name="T33" fmla="*/ 690 h 1387"/>
                    <a:gd name="T34" fmla="*/ 1223 w 1386"/>
                    <a:gd name="T35" fmla="*/ 689 h 1387"/>
                    <a:gd name="T36" fmla="*/ 1223 w 1386"/>
                    <a:gd name="T37" fmla="*/ 687 h 1387"/>
                    <a:gd name="T38" fmla="*/ 1238 w 1386"/>
                    <a:gd name="T39" fmla="*/ 673 h 1387"/>
                    <a:gd name="T40" fmla="*/ 1386 w 1386"/>
                    <a:gd name="T41" fmla="*/ 683 h 1387"/>
                    <a:gd name="T42" fmla="*/ 1386 w 1386"/>
                    <a:gd name="T43" fmla="*/ 1365 h 1387"/>
                    <a:gd name="T44" fmla="*/ 1365 w 1386"/>
                    <a:gd name="T45" fmla="*/ 1387 h 1387"/>
                    <a:gd name="T46" fmla="*/ 721 w 1386"/>
                    <a:gd name="T47" fmla="*/ 1387 h 1387"/>
                    <a:gd name="T48" fmla="*/ 732 w 1386"/>
                    <a:gd name="T49" fmla="*/ 1230 h 1387"/>
                    <a:gd name="T50" fmla="*/ 679 w 1386"/>
                    <a:gd name="T51" fmla="*/ 1171 h 1387"/>
                    <a:gd name="T52" fmla="*/ 678 w 1386"/>
                    <a:gd name="T53" fmla="*/ 1171 h 1387"/>
                    <a:gd name="T54" fmla="*/ 658 w 1386"/>
                    <a:gd name="T55" fmla="*/ 1174 h 1387"/>
                    <a:gd name="T56" fmla="*/ 550 w 1386"/>
                    <a:gd name="T57" fmla="*/ 1196 h 1387"/>
                    <a:gd name="T58" fmla="*/ 453 w 1386"/>
                    <a:gd name="T59" fmla="*/ 1098 h 1387"/>
                    <a:gd name="T60" fmla="*/ 550 w 1386"/>
                    <a:gd name="T61" fmla="*/ 1001 h 1387"/>
                    <a:gd name="T62" fmla="*/ 657 w 1386"/>
                    <a:gd name="T63" fmla="*/ 1023 h 1387"/>
                    <a:gd name="T64" fmla="*/ 660 w 1386"/>
                    <a:gd name="T65" fmla="*/ 1024 h 1387"/>
                    <a:gd name="T66" fmla="*/ 921 w 1386"/>
                    <a:gd name="T67" fmla="*/ 254 h 1387"/>
                    <a:gd name="T68" fmla="*/ 823 w 1386"/>
                    <a:gd name="T69" fmla="*/ 156 h 1387"/>
                    <a:gd name="T70" fmla="*/ 716 w 1386"/>
                    <a:gd name="T71" fmla="*/ 179 h 1387"/>
                    <a:gd name="T72" fmla="*/ 714 w 1386"/>
                    <a:gd name="T73" fmla="*/ 180 h 1387"/>
                    <a:gd name="T74" fmla="*/ 692 w 1386"/>
                    <a:gd name="T75" fmla="*/ 181 h 1387"/>
                    <a:gd name="T76" fmla="*/ 641 w 1386"/>
                    <a:gd name="T77" fmla="*/ 122 h 1387"/>
                    <a:gd name="T78" fmla="*/ 648 w 1386"/>
                    <a:gd name="T79" fmla="*/ 0 h 1387"/>
                    <a:gd name="T80" fmla="*/ 21 w 1386"/>
                    <a:gd name="T81" fmla="*/ 0 h 1387"/>
                    <a:gd name="T82" fmla="*/ 0 w 1386"/>
                    <a:gd name="T83" fmla="*/ 22 h 1387"/>
                    <a:gd name="T84" fmla="*/ 0 w 1386"/>
                    <a:gd name="T85" fmla="*/ 671 h 1387"/>
                    <a:gd name="T86" fmla="*/ 134 w 1386"/>
                    <a:gd name="T87" fmla="*/ 679 h 1387"/>
                    <a:gd name="T88" fmla="*/ 149 w 1386"/>
                    <a:gd name="T89" fmla="*/ 666 h 1387"/>
                    <a:gd name="T90" fmla="*/ 149 w 1386"/>
                    <a:gd name="T91" fmla="*/ 660 h 1387"/>
                    <a:gd name="T92" fmla="*/ 124 w 1386"/>
                    <a:gd name="T93" fmla="*/ 540 h 1387"/>
                    <a:gd name="T94" fmla="*/ 264 w 1386"/>
                    <a:gd name="T95" fmla="*/ 400 h 1387"/>
                    <a:gd name="T96" fmla="*/ 405 w 1386"/>
                    <a:gd name="T97" fmla="*/ 540 h 1387"/>
                    <a:gd name="T98" fmla="*/ 380 w 1386"/>
                    <a:gd name="T99" fmla="*/ 660 h 1387"/>
                    <a:gd name="T100" fmla="*/ 379 w 1386"/>
                    <a:gd name="T101" fmla="*/ 668 h 1387"/>
                    <a:gd name="T102" fmla="*/ 394 w 1386"/>
                    <a:gd name="T103" fmla="*/ 681 h 1387"/>
                    <a:gd name="T104" fmla="*/ 663 w 1386"/>
                    <a:gd name="T105" fmla="*/ 658 h 1387"/>
                    <a:gd name="T106" fmla="*/ 640 w 1386"/>
                    <a:gd name="T107" fmla="*/ 386 h 1387"/>
                    <a:gd name="T108" fmla="*/ 655 w 1386"/>
                    <a:gd name="T109" fmla="*/ 344 h 1387"/>
                    <a:gd name="T110" fmla="*/ 692 w 1386"/>
                    <a:gd name="T111" fmla="*/ 327 h 1387"/>
                    <a:gd name="T112" fmla="*/ 714 w 1386"/>
                    <a:gd name="T113" fmla="*/ 329 h 1387"/>
                    <a:gd name="T114" fmla="*/ 716 w 1386"/>
                    <a:gd name="T115" fmla="*/ 330 h 1387"/>
                    <a:gd name="T116" fmla="*/ 823 w 1386"/>
                    <a:gd name="T117" fmla="*/ 352 h 1387"/>
                    <a:gd name="T118" fmla="*/ 921 w 1386"/>
                    <a:gd name="T119" fmla="*/ 254 h 1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386" h="1387">
                      <a:moveTo>
                        <a:pt x="660" y="1024"/>
                      </a:moveTo>
                      <a:cubicBezTo>
                        <a:pt x="665" y="1025"/>
                        <a:pt x="672" y="1027"/>
                        <a:pt x="678" y="1027"/>
                      </a:cubicBezTo>
                      <a:cubicBezTo>
                        <a:pt x="679" y="1027"/>
                        <a:pt x="679" y="1027"/>
                        <a:pt x="679" y="1027"/>
                      </a:cubicBezTo>
                      <a:cubicBezTo>
                        <a:pt x="711" y="1025"/>
                        <a:pt x="735" y="998"/>
                        <a:pt x="733" y="967"/>
                      </a:cubicBezTo>
                      <a:cubicBezTo>
                        <a:pt x="729" y="871"/>
                        <a:pt x="722" y="782"/>
                        <a:pt x="710" y="695"/>
                      </a:cubicBezTo>
                      <a:cubicBezTo>
                        <a:pt x="796" y="683"/>
                        <a:pt x="884" y="676"/>
                        <a:pt x="978" y="672"/>
                      </a:cubicBezTo>
                      <a:cubicBezTo>
                        <a:pt x="979" y="672"/>
                        <a:pt x="979" y="672"/>
                        <a:pt x="979" y="672"/>
                      </a:cubicBezTo>
                      <a:cubicBezTo>
                        <a:pt x="984" y="672"/>
                        <a:pt x="987" y="674"/>
                        <a:pt x="989" y="676"/>
                      </a:cubicBezTo>
                      <a:cubicBezTo>
                        <a:pt x="992" y="678"/>
                        <a:pt x="993" y="682"/>
                        <a:pt x="993" y="685"/>
                      </a:cubicBezTo>
                      <a:cubicBezTo>
                        <a:pt x="993" y="689"/>
                        <a:pt x="993" y="689"/>
                        <a:pt x="993" y="689"/>
                      </a:cubicBezTo>
                      <a:cubicBezTo>
                        <a:pt x="994" y="690"/>
                        <a:pt x="994" y="690"/>
                        <a:pt x="994" y="690"/>
                      </a:cubicBezTo>
                      <a:cubicBezTo>
                        <a:pt x="993" y="691"/>
                        <a:pt x="993" y="692"/>
                        <a:pt x="993" y="692"/>
                      </a:cubicBezTo>
                      <a:cubicBezTo>
                        <a:pt x="978" y="735"/>
                        <a:pt x="968" y="781"/>
                        <a:pt x="968" y="813"/>
                      </a:cubicBezTo>
                      <a:cubicBezTo>
                        <a:pt x="968" y="890"/>
                        <a:pt x="1031" y="953"/>
                        <a:pt x="1108" y="953"/>
                      </a:cubicBezTo>
                      <a:cubicBezTo>
                        <a:pt x="1186" y="953"/>
                        <a:pt x="1249" y="890"/>
                        <a:pt x="1249" y="813"/>
                      </a:cubicBezTo>
                      <a:cubicBezTo>
                        <a:pt x="1249" y="781"/>
                        <a:pt x="1239" y="736"/>
                        <a:pt x="1224" y="692"/>
                      </a:cubicBezTo>
                      <a:cubicBezTo>
                        <a:pt x="1223" y="691"/>
                        <a:pt x="1223" y="690"/>
                        <a:pt x="1223" y="690"/>
                      </a:cubicBezTo>
                      <a:cubicBezTo>
                        <a:pt x="1223" y="689"/>
                        <a:pt x="1223" y="689"/>
                        <a:pt x="1223" y="689"/>
                      </a:cubicBezTo>
                      <a:cubicBezTo>
                        <a:pt x="1223" y="687"/>
                        <a:pt x="1223" y="687"/>
                        <a:pt x="1223" y="687"/>
                      </a:cubicBezTo>
                      <a:cubicBezTo>
                        <a:pt x="1224" y="680"/>
                        <a:pt x="1229" y="673"/>
                        <a:pt x="1238" y="673"/>
                      </a:cubicBezTo>
                      <a:cubicBezTo>
                        <a:pt x="1295" y="676"/>
                        <a:pt x="1342" y="679"/>
                        <a:pt x="1386" y="683"/>
                      </a:cubicBezTo>
                      <a:cubicBezTo>
                        <a:pt x="1386" y="1365"/>
                        <a:pt x="1386" y="1365"/>
                        <a:pt x="1386" y="1365"/>
                      </a:cubicBezTo>
                      <a:cubicBezTo>
                        <a:pt x="1386" y="1377"/>
                        <a:pt x="1376" y="1387"/>
                        <a:pt x="1365" y="1387"/>
                      </a:cubicBezTo>
                      <a:cubicBezTo>
                        <a:pt x="721" y="1387"/>
                        <a:pt x="721" y="1387"/>
                        <a:pt x="721" y="1387"/>
                      </a:cubicBezTo>
                      <a:cubicBezTo>
                        <a:pt x="727" y="1333"/>
                        <a:pt x="730" y="1281"/>
                        <a:pt x="732" y="1230"/>
                      </a:cubicBezTo>
                      <a:cubicBezTo>
                        <a:pt x="734" y="1199"/>
                        <a:pt x="711" y="1173"/>
                        <a:pt x="679" y="1171"/>
                      </a:cubicBezTo>
                      <a:cubicBezTo>
                        <a:pt x="678" y="1171"/>
                        <a:pt x="678" y="1171"/>
                        <a:pt x="678" y="1171"/>
                      </a:cubicBezTo>
                      <a:cubicBezTo>
                        <a:pt x="672" y="1171"/>
                        <a:pt x="665" y="1171"/>
                        <a:pt x="658" y="1174"/>
                      </a:cubicBezTo>
                      <a:cubicBezTo>
                        <a:pt x="618" y="1188"/>
                        <a:pt x="577" y="1196"/>
                        <a:pt x="550" y="1196"/>
                      </a:cubicBezTo>
                      <a:cubicBezTo>
                        <a:pt x="496" y="1196"/>
                        <a:pt x="453" y="1152"/>
                        <a:pt x="453" y="1098"/>
                      </a:cubicBezTo>
                      <a:cubicBezTo>
                        <a:pt x="453" y="1044"/>
                        <a:pt x="496" y="1001"/>
                        <a:pt x="550" y="1001"/>
                      </a:cubicBezTo>
                      <a:cubicBezTo>
                        <a:pt x="578" y="1001"/>
                        <a:pt x="620" y="1009"/>
                        <a:pt x="657" y="1023"/>
                      </a:cubicBezTo>
                      <a:lnTo>
                        <a:pt x="660" y="1024"/>
                      </a:lnTo>
                      <a:close/>
                      <a:moveTo>
                        <a:pt x="921" y="254"/>
                      </a:moveTo>
                      <a:cubicBezTo>
                        <a:pt x="921" y="200"/>
                        <a:pt x="877" y="156"/>
                        <a:pt x="823" y="156"/>
                      </a:cubicBezTo>
                      <a:cubicBezTo>
                        <a:pt x="796" y="156"/>
                        <a:pt x="754" y="165"/>
                        <a:pt x="716" y="179"/>
                      </a:cubicBezTo>
                      <a:cubicBezTo>
                        <a:pt x="714" y="180"/>
                        <a:pt x="714" y="180"/>
                        <a:pt x="714" y="180"/>
                      </a:cubicBezTo>
                      <a:cubicBezTo>
                        <a:pt x="708" y="181"/>
                        <a:pt x="700" y="183"/>
                        <a:pt x="692" y="181"/>
                      </a:cubicBezTo>
                      <a:cubicBezTo>
                        <a:pt x="662" y="178"/>
                        <a:pt x="639" y="153"/>
                        <a:pt x="641" y="122"/>
                      </a:cubicBezTo>
                      <a:cubicBezTo>
                        <a:pt x="642" y="84"/>
                        <a:pt x="644" y="44"/>
                        <a:pt x="648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9" y="0"/>
                        <a:pt x="0" y="10"/>
                        <a:pt x="0" y="22"/>
                      </a:cubicBezTo>
                      <a:cubicBezTo>
                        <a:pt x="0" y="671"/>
                        <a:pt x="0" y="671"/>
                        <a:pt x="0" y="671"/>
                      </a:cubicBezTo>
                      <a:cubicBezTo>
                        <a:pt x="41" y="674"/>
                        <a:pt x="87" y="677"/>
                        <a:pt x="134" y="679"/>
                      </a:cubicBezTo>
                      <a:cubicBezTo>
                        <a:pt x="143" y="680"/>
                        <a:pt x="149" y="673"/>
                        <a:pt x="149" y="666"/>
                      </a:cubicBezTo>
                      <a:cubicBezTo>
                        <a:pt x="149" y="664"/>
                        <a:pt x="149" y="662"/>
                        <a:pt x="149" y="660"/>
                      </a:cubicBezTo>
                      <a:cubicBezTo>
                        <a:pt x="134" y="618"/>
                        <a:pt x="124" y="572"/>
                        <a:pt x="124" y="540"/>
                      </a:cubicBezTo>
                      <a:cubicBezTo>
                        <a:pt x="124" y="463"/>
                        <a:pt x="187" y="400"/>
                        <a:pt x="264" y="400"/>
                      </a:cubicBezTo>
                      <a:cubicBezTo>
                        <a:pt x="342" y="400"/>
                        <a:pt x="405" y="463"/>
                        <a:pt x="405" y="540"/>
                      </a:cubicBezTo>
                      <a:cubicBezTo>
                        <a:pt x="405" y="572"/>
                        <a:pt x="395" y="618"/>
                        <a:pt x="380" y="660"/>
                      </a:cubicBezTo>
                      <a:cubicBezTo>
                        <a:pt x="379" y="663"/>
                        <a:pt x="379" y="666"/>
                        <a:pt x="379" y="668"/>
                      </a:cubicBezTo>
                      <a:cubicBezTo>
                        <a:pt x="379" y="673"/>
                        <a:pt x="385" y="681"/>
                        <a:pt x="394" y="681"/>
                      </a:cubicBezTo>
                      <a:cubicBezTo>
                        <a:pt x="489" y="677"/>
                        <a:pt x="577" y="669"/>
                        <a:pt x="663" y="658"/>
                      </a:cubicBezTo>
                      <a:cubicBezTo>
                        <a:pt x="651" y="571"/>
                        <a:pt x="644" y="482"/>
                        <a:pt x="640" y="386"/>
                      </a:cubicBezTo>
                      <a:cubicBezTo>
                        <a:pt x="639" y="371"/>
                        <a:pt x="645" y="356"/>
                        <a:pt x="655" y="344"/>
                      </a:cubicBezTo>
                      <a:cubicBezTo>
                        <a:pt x="665" y="334"/>
                        <a:pt x="678" y="328"/>
                        <a:pt x="692" y="327"/>
                      </a:cubicBezTo>
                      <a:cubicBezTo>
                        <a:pt x="701" y="326"/>
                        <a:pt x="708" y="327"/>
                        <a:pt x="714" y="329"/>
                      </a:cubicBezTo>
                      <a:cubicBezTo>
                        <a:pt x="716" y="330"/>
                        <a:pt x="716" y="330"/>
                        <a:pt x="716" y="330"/>
                      </a:cubicBezTo>
                      <a:cubicBezTo>
                        <a:pt x="754" y="343"/>
                        <a:pt x="796" y="352"/>
                        <a:pt x="823" y="352"/>
                      </a:cubicBezTo>
                      <a:cubicBezTo>
                        <a:pt x="877" y="352"/>
                        <a:pt x="921" y="308"/>
                        <a:pt x="921" y="254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11"/>
                <p:cNvSpPr>
                  <a:spLocks noEditPoints="1"/>
                </p:cNvSpPr>
                <p:nvPr/>
              </p:nvSpPr>
              <p:spPr bwMode="auto">
                <a:xfrm>
                  <a:off x="5539740" y="2872740"/>
                  <a:ext cx="1112520" cy="1112520"/>
                </a:xfrm>
                <a:custGeom>
                  <a:avLst/>
                  <a:gdLst>
                    <a:gd name="T0" fmla="*/ 1267 w 1557"/>
                    <a:gd name="T1" fmla="*/ 767 h 1557"/>
                    <a:gd name="T2" fmla="*/ 1292 w 1557"/>
                    <a:gd name="T3" fmla="*/ 898 h 1557"/>
                    <a:gd name="T4" fmla="*/ 1097 w 1557"/>
                    <a:gd name="T5" fmla="*/ 898 h 1557"/>
                    <a:gd name="T6" fmla="*/ 1120 w 1557"/>
                    <a:gd name="T7" fmla="*/ 788 h 1557"/>
                    <a:gd name="T8" fmla="*/ 1104 w 1557"/>
                    <a:gd name="T9" fmla="*/ 730 h 1557"/>
                    <a:gd name="T10" fmla="*/ 791 w 1557"/>
                    <a:gd name="T11" fmla="*/ 738 h 1557"/>
                    <a:gd name="T12" fmla="*/ 768 w 1557"/>
                    <a:gd name="T13" fmla="*/ 469 h 1557"/>
                    <a:gd name="T14" fmla="*/ 781 w 1557"/>
                    <a:gd name="T15" fmla="*/ 454 h 1557"/>
                    <a:gd name="T16" fmla="*/ 785 w 1557"/>
                    <a:gd name="T17" fmla="*/ 454 h 1557"/>
                    <a:gd name="T18" fmla="*/ 909 w 1557"/>
                    <a:gd name="T19" fmla="*/ 479 h 1557"/>
                    <a:gd name="T20" fmla="*/ 909 w 1557"/>
                    <a:gd name="T21" fmla="*/ 199 h 1557"/>
                    <a:gd name="T22" fmla="*/ 786 w 1557"/>
                    <a:gd name="T23" fmla="*/ 224 h 1557"/>
                    <a:gd name="T24" fmla="*/ 770 w 1557"/>
                    <a:gd name="T25" fmla="*/ 210 h 1557"/>
                    <a:gd name="T26" fmla="*/ 777 w 1557"/>
                    <a:gd name="T27" fmla="*/ 85 h 1557"/>
                    <a:gd name="T28" fmla="*/ 1472 w 1557"/>
                    <a:gd name="T29" fmla="*/ 107 h 1557"/>
                    <a:gd name="T30" fmla="*/ 1327 w 1557"/>
                    <a:gd name="T31" fmla="*/ 716 h 1557"/>
                    <a:gd name="T32" fmla="*/ 86 w 1557"/>
                    <a:gd name="T33" fmla="*/ 1450 h 1557"/>
                    <a:gd name="T34" fmla="*/ 765 w 1557"/>
                    <a:gd name="T35" fmla="*/ 1472 h 1557"/>
                    <a:gd name="T36" fmla="*/ 776 w 1557"/>
                    <a:gd name="T37" fmla="*/ 1313 h 1557"/>
                    <a:gd name="T38" fmla="*/ 757 w 1557"/>
                    <a:gd name="T39" fmla="*/ 1299 h 1557"/>
                    <a:gd name="T40" fmla="*/ 496 w 1557"/>
                    <a:gd name="T41" fmla="*/ 1183 h 1557"/>
                    <a:gd name="T42" fmla="*/ 757 w 1557"/>
                    <a:gd name="T43" fmla="*/ 1068 h 1557"/>
                    <a:gd name="T44" fmla="*/ 777 w 1557"/>
                    <a:gd name="T45" fmla="*/ 1054 h 1557"/>
                    <a:gd name="T46" fmla="*/ 482 w 1557"/>
                    <a:gd name="T47" fmla="*/ 808 h 1557"/>
                    <a:gd name="T48" fmla="*/ 422 w 1557"/>
                    <a:gd name="T49" fmla="*/ 754 h 1557"/>
                    <a:gd name="T50" fmla="*/ 426 w 1557"/>
                    <a:gd name="T51" fmla="*/ 732 h 1557"/>
                    <a:gd name="T52" fmla="*/ 350 w 1557"/>
                    <a:gd name="T53" fmla="*/ 527 h 1557"/>
                    <a:gd name="T54" fmla="*/ 275 w 1557"/>
                    <a:gd name="T55" fmla="*/ 732 h 1557"/>
                    <a:gd name="T56" fmla="*/ 278 w 1557"/>
                    <a:gd name="T57" fmla="*/ 752 h 1557"/>
                    <a:gd name="T58" fmla="*/ 218 w 1557"/>
                    <a:gd name="T59" fmla="*/ 807 h 1557"/>
                    <a:gd name="T60" fmla="*/ 1557 w 1557"/>
                    <a:gd name="T61" fmla="*/ 1535 h 1557"/>
                    <a:gd name="T62" fmla="*/ 1535 w 1557"/>
                    <a:gd name="T63" fmla="*/ 0 h 1557"/>
                    <a:gd name="T64" fmla="*/ 0 w 1557"/>
                    <a:gd name="T65" fmla="*/ 22 h 1557"/>
                    <a:gd name="T66" fmla="*/ 22 w 1557"/>
                    <a:gd name="T67" fmla="*/ 1557 h 1557"/>
                    <a:gd name="T68" fmla="*/ 1557 w 1557"/>
                    <a:gd name="T69" fmla="*/ 1535 h 1557"/>
                    <a:gd name="T70" fmla="*/ 1513 w 1557"/>
                    <a:gd name="T71" fmla="*/ 44 h 1557"/>
                    <a:gd name="T72" fmla="*/ 44 w 1557"/>
                    <a:gd name="T73" fmla="*/ 1513 h 1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557" h="1557">
                      <a:moveTo>
                        <a:pt x="1327" y="716"/>
                      </a:moveTo>
                      <a:cubicBezTo>
                        <a:pt x="1296" y="714"/>
                        <a:pt x="1270" y="736"/>
                        <a:pt x="1267" y="767"/>
                      </a:cubicBezTo>
                      <a:cubicBezTo>
                        <a:pt x="1265" y="778"/>
                        <a:pt x="1269" y="787"/>
                        <a:pt x="1270" y="790"/>
                      </a:cubicBezTo>
                      <a:cubicBezTo>
                        <a:pt x="1284" y="830"/>
                        <a:pt x="1292" y="871"/>
                        <a:pt x="1292" y="898"/>
                      </a:cubicBezTo>
                      <a:cubicBezTo>
                        <a:pt x="1292" y="952"/>
                        <a:pt x="1248" y="995"/>
                        <a:pt x="1195" y="995"/>
                      </a:cubicBezTo>
                      <a:cubicBezTo>
                        <a:pt x="1141" y="995"/>
                        <a:pt x="1097" y="952"/>
                        <a:pt x="1097" y="898"/>
                      </a:cubicBezTo>
                      <a:cubicBezTo>
                        <a:pt x="1097" y="870"/>
                        <a:pt x="1106" y="828"/>
                        <a:pt x="1119" y="790"/>
                      </a:cubicBezTo>
                      <a:cubicBezTo>
                        <a:pt x="1120" y="788"/>
                        <a:pt x="1120" y="788"/>
                        <a:pt x="1120" y="788"/>
                      </a:cubicBezTo>
                      <a:cubicBezTo>
                        <a:pt x="1121" y="783"/>
                        <a:pt x="1123" y="775"/>
                        <a:pt x="1122" y="767"/>
                      </a:cubicBezTo>
                      <a:cubicBezTo>
                        <a:pt x="1121" y="753"/>
                        <a:pt x="1115" y="740"/>
                        <a:pt x="1104" y="730"/>
                      </a:cubicBezTo>
                      <a:cubicBezTo>
                        <a:pt x="1093" y="719"/>
                        <a:pt x="1078" y="714"/>
                        <a:pt x="1063" y="715"/>
                      </a:cubicBezTo>
                      <a:cubicBezTo>
                        <a:pt x="967" y="718"/>
                        <a:pt x="878" y="726"/>
                        <a:pt x="791" y="738"/>
                      </a:cubicBezTo>
                      <a:cubicBezTo>
                        <a:pt x="780" y="652"/>
                        <a:pt x="772" y="564"/>
                        <a:pt x="769" y="469"/>
                      </a:cubicBezTo>
                      <a:cubicBezTo>
                        <a:pt x="768" y="469"/>
                        <a:pt x="768" y="469"/>
                        <a:pt x="768" y="469"/>
                      </a:cubicBezTo>
                      <a:cubicBezTo>
                        <a:pt x="768" y="464"/>
                        <a:pt x="771" y="460"/>
                        <a:pt x="772" y="459"/>
                      </a:cubicBezTo>
                      <a:cubicBezTo>
                        <a:pt x="775" y="456"/>
                        <a:pt x="778" y="454"/>
                        <a:pt x="781" y="454"/>
                      </a:cubicBezTo>
                      <a:cubicBezTo>
                        <a:pt x="783" y="454"/>
                        <a:pt x="783" y="454"/>
                        <a:pt x="783" y="454"/>
                      </a:cubicBezTo>
                      <a:cubicBezTo>
                        <a:pt x="785" y="454"/>
                        <a:pt x="785" y="454"/>
                        <a:pt x="785" y="454"/>
                      </a:cubicBezTo>
                      <a:cubicBezTo>
                        <a:pt x="786" y="454"/>
                        <a:pt x="787" y="454"/>
                        <a:pt x="789" y="455"/>
                      </a:cubicBezTo>
                      <a:cubicBezTo>
                        <a:pt x="831" y="470"/>
                        <a:pt x="877" y="479"/>
                        <a:pt x="909" y="479"/>
                      </a:cubicBezTo>
                      <a:cubicBezTo>
                        <a:pt x="986" y="479"/>
                        <a:pt x="1049" y="417"/>
                        <a:pt x="1049" y="339"/>
                      </a:cubicBezTo>
                      <a:cubicBezTo>
                        <a:pt x="1049" y="262"/>
                        <a:pt x="986" y="199"/>
                        <a:pt x="909" y="199"/>
                      </a:cubicBezTo>
                      <a:cubicBezTo>
                        <a:pt x="877" y="199"/>
                        <a:pt x="831" y="209"/>
                        <a:pt x="789" y="224"/>
                      </a:cubicBezTo>
                      <a:cubicBezTo>
                        <a:pt x="788" y="224"/>
                        <a:pt x="787" y="224"/>
                        <a:pt x="786" y="224"/>
                      </a:cubicBezTo>
                      <a:cubicBezTo>
                        <a:pt x="783" y="224"/>
                        <a:pt x="783" y="224"/>
                        <a:pt x="783" y="224"/>
                      </a:cubicBezTo>
                      <a:cubicBezTo>
                        <a:pt x="776" y="224"/>
                        <a:pt x="769" y="218"/>
                        <a:pt x="770" y="210"/>
                      </a:cubicBezTo>
                      <a:cubicBezTo>
                        <a:pt x="770" y="209"/>
                        <a:pt x="770" y="209"/>
                        <a:pt x="770" y="209"/>
                      </a:cubicBezTo>
                      <a:cubicBezTo>
                        <a:pt x="771" y="170"/>
                        <a:pt x="773" y="130"/>
                        <a:pt x="777" y="85"/>
                      </a:cubicBezTo>
                      <a:cubicBezTo>
                        <a:pt x="1451" y="85"/>
                        <a:pt x="1451" y="85"/>
                        <a:pt x="1451" y="85"/>
                      </a:cubicBezTo>
                      <a:cubicBezTo>
                        <a:pt x="1462" y="85"/>
                        <a:pt x="1472" y="95"/>
                        <a:pt x="1472" y="107"/>
                      </a:cubicBezTo>
                      <a:cubicBezTo>
                        <a:pt x="1472" y="725"/>
                        <a:pt x="1472" y="725"/>
                        <a:pt x="1472" y="725"/>
                      </a:cubicBezTo>
                      <a:cubicBezTo>
                        <a:pt x="1429" y="721"/>
                        <a:pt x="1382" y="718"/>
                        <a:pt x="1327" y="716"/>
                      </a:cubicBezTo>
                      <a:close/>
                      <a:moveTo>
                        <a:pt x="86" y="799"/>
                      </a:moveTo>
                      <a:cubicBezTo>
                        <a:pt x="86" y="1450"/>
                        <a:pt x="86" y="1450"/>
                        <a:pt x="86" y="1450"/>
                      </a:cubicBezTo>
                      <a:cubicBezTo>
                        <a:pt x="86" y="1462"/>
                        <a:pt x="95" y="1472"/>
                        <a:pt x="107" y="1472"/>
                      </a:cubicBezTo>
                      <a:cubicBezTo>
                        <a:pt x="765" y="1472"/>
                        <a:pt x="765" y="1472"/>
                        <a:pt x="765" y="1472"/>
                      </a:cubicBezTo>
                      <a:cubicBezTo>
                        <a:pt x="770" y="1417"/>
                        <a:pt x="774" y="1365"/>
                        <a:pt x="776" y="1313"/>
                      </a:cubicBezTo>
                      <a:cubicBezTo>
                        <a:pt x="776" y="1313"/>
                        <a:pt x="776" y="1313"/>
                        <a:pt x="776" y="1313"/>
                      </a:cubicBezTo>
                      <a:cubicBezTo>
                        <a:pt x="776" y="1304"/>
                        <a:pt x="770" y="1299"/>
                        <a:pt x="763" y="1298"/>
                      </a:cubicBezTo>
                      <a:cubicBezTo>
                        <a:pt x="761" y="1298"/>
                        <a:pt x="758" y="1298"/>
                        <a:pt x="757" y="1299"/>
                      </a:cubicBezTo>
                      <a:cubicBezTo>
                        <a:pt x="713" y="1314"/>
                        <a:pt x="667" y="1323"/>
                        <a:pt x="636" y="1323"/>
                      </a:cubicBezTo>
                      <a:cubicBezTo>
                        <a:pt x="559" y="1323"/>
                        <a:pt x="496" y="1261"/>
                        <a:pt x="496" y="1183"/>
                      </a:cubicBezTo>
                      <a:cubicBezTo>
                        <a:pt x="496" y="1106"/>
                        <a:pt x="559" y="1043"/>
                        <a:pt x="636" y="1043"/>
                      </a:cubicBezTo>
                      <a:cubicBezTo>
                        <a:pt x="668" y="1043"/>
                        <a:pt x="714" y="1053"/>
                        <a:pt x="757" y="1068"/>
                      </a:cubicBezTo>
                      <a:cubicBezTo>
                        <a:pt x="759" y="1068"/>
                        <a:pt x="762" y="1069"/>
                        <a:pt x="763" y="1069"/>
                      </a:cubicBezTo>
                      <a:cubicBezTo>
                        <a:pt x="770" y="1068"/>
                        <a:pt x="777" y="1063"/>
                        <a:pt x="777" y="1054"/>
                      </a:cubicBezTo>
                      <a:cubicBezTo>
                        <a:pt x="773" y="958"/>
                        <a:pt x="766" y="871"/>
                        <a:pt x="754" y="785"/>
                      </a:cubicBezTo>
                      <a:cubicBezTo>
                        <a:pt x="667" y="797"/>
                        <a:pt x="578" y="804"/>
                        <a:pt x="482" y="808"/>
                      </a:cubicBezTo>
                      <a:cubicBezTo>
                        <a:pt x="451" y="810"/>
                        <a:pt x="424" y="786"/>
                        <a:pt x="422" y="755"/>
                      </a:cubicBezTo>
                      <a:cubicBezTo>
                        <a:pt x="422" y="754"/>
                        <a:pt x="422" y="754"/>
                        <a:pt x="422" y="754"/>
                      </a:cubicBezTo>
                      <a:cubicBezTo>
                        <a:pt x="422" y="746"/>
                        <a:pt x="424" y="740"/>
                        <a:pt x="425" y="734"/>
                      </a:cubicBezTo>
                      <a:cubicBezTo>
                        <a:pt x="426" y="732"/>
                        <a:pt x="426" y="732"/>
                        <a:pt x="426" y="732"/>
                      </a:cubicBezTo>
                      <a:cubicBezTo>
                        <a:pt x="439" y="694"/>
                        <a:pt x="448" y="652"/>
                        <a:pt x="448" y="625"/>
                      </a:cubicBezTo>
                      <a:cubicBezTo>
                        <a:pt x="448" y="571"/>
                        <a:pt x="404" y="527"/>
                        <a:pt x="350" y="527"/>
                      </a:cubicBezTo>
                      <a:cubicBezTo>
                        <a:pt x="296" y="527"/>
                        <a:pt x="253" y="571"/>
                        <a:pt x="253" y="625"/>
                      </a:cubicBezTo>
                      <a:cubicBezTo>
                        <a:pt x="253" y="652"/>
                        <a:pt x="261" y="694"/>
                        <a:pt x="275" y="732"/>
                      </a:cubicBezTo>
                      <a:cubicBezTo>
                        <a:pt x="276" y="734"/>
                        <a:pt x="276" y="734"/>
                        <a:pt x="276" y="734"/>
                      </a:cubicBezTo>
                      <a:cubicBezTo>
                        <a:pt x="278" y="741"/>
                        <a:pt x="278" y="748"/>
                        <a:pt x="278" y="752"/>
                      </a:cubicBezTo>
                      <a:cubicBezTo>
                        <a:pt x="277" y="754"/>
                        <a:pt x="277" y="754"/>
                        <a:pt x="277" y="754"/>
                      </a:cubicBezTo>
                      <a:cubicBezTo>
                        <a:pt x="276" y="785"/>
                        <a:pt x="249" y="809"/>
                        <a:pt x="218" y="807"/>
                      </a:cubicBezTo>
                      <a:cubicBezTo>
                        <a:pt x="172" y="805"/>
                        <a:pt x="126" y="802"/>
                        <a:pt x="86" y="799"/>
                      </a:cubicBezTo>
                      <a:close/>
                      <a:moveTo>
                        <a:pt x="1557" y="1535"/>
                      </a:moveTo>
                      <a:cubicBezTo>
                        <a:pt x="1557" y="22"/>
                        <a:pt x="1557" y="22"/>
                        <a:pt x="1557" y="22"/>
                      </a:cubicBezTo>
                      <a:cubicBezTo>
                        <a:pt x="1557" y="10"/>
                        <a:pt x="1547" y="0"/>
                        <a:pt x="1535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1535"/>
                        <a:pt x="0" y="1535"/>
                        <a:pt x="0" y="1535"/>
                      </a:cubicBezTo>
                      <a:cubicBezTo>
                        <a:pt x="0" y="1547"/>
                        <a:pt x="10" y="1557"/>
                        <a:pt x="22" y="1557"/>
                      </a:cubicBezTo>
                      <a:cubicBezTo>
                        <a:pt x="1535" y="1557"/>
                        <a:pt x="1535" y="1557"/>
                        <a:pt x="1535" y="1557"/>
                      </a:cubicBezTo>
                      <a:cubicBezTo>
                        <a:pt x="1547" y="1557"/>
                        <a:pt x="1557" y="1547"/>
                        <a:pt x="1557" y="1535"/>
                      </a:cubicBezTo>
                      <a:close/>
                      <a:moveTo>
                        <a:pt x="44" y="44"/>
                      </a:moveTo>
                      <a:cubicBezTo>
                        <a:pt x="1513" y="44"/>
                        <a:pt x="1513" y="44"/>
                        <a:pt x="1513" y="44"/>
                      </a:cubicBezTo>
                      <a:cubicBezTo>
                        <a:pt x="1513" y="1513"/>
                        <a:pt x="1513" y="1513"/>
                        <a:pt x="1513" y="1513"/>
                      </a:cubicBezTo>
                      <a:cubicBezTo>
                        <a:pt x="44" y="1513"/>
                        <a:pt x="44" y="1513"/>
                        <a:pt x="44" y="1513"/>
                      </a:cubicBezTo>
                      <a:lnTo>
                        <a:pt x="44" y="44"/>
                      </a:ln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60" name="Rectangle 4"/>
          <p:cNvSpPr>
            <a:spLocks noChangeArrowheads="1"/>
          </p:cNvSpPr>
          <p:nvPr/>
        </p:nvSpPr>
        <p:spPr bwMode="gray">
          <a:xfrm>
            <a:off x="630000" y="6286501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 anchor="b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/>
              <a:t>1. Long term plan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/>
              <a:t>Source: procurement prac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4509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22" name="think-cell Slide" r:id="rId7" imgW="536" imgH="535" progId="TCLayout.ActiveDocument.1">
                  <p:embed/>
                </p:oleObj>
              </mc:Choice>
              <mc:Fallback>
                <p:oleObj name="think-cell Slide" r:id="rId7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2321005"/>
            <a:ext cx="3127881" cy="2215991"/>
          </a:xfrm>
        </p:spPr>
        <p:txBody>
          <a:bodyPr>
            <a:spAutoFit/>
          </a:bodyPr>
          <a:lstStyle/>
          <a:p>
            <a:r>
              <a:rPr lang="en-US" dirty="0" err="1"/>
              <a:t>SCM</a:t>
            </a:r>
            <a:r>
              <a:rPr lang="en-US" dirty="0"/>
              <a:t> processes redesign considered four guiding principles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4288359" y="514432"/>
            <a:ext cx="7082006" cy="1080341"/>
            <a:chOff x="4288359" y="514432"/>
            <a:chExt cx="7082006" cy="1080341"/>
          </a:xfrm>
        </p:grpSpPr>
        <p:grpSp>
          <p:nvGrpSpPr>
            <p:cNvPr id="18" name="Group 17"/>
            <p:cNvGrpSpPr>
              <a:grpSpLocks noChangeAspect="1"/>
            </p:cNvGrpSpPr>
            <p:nvPr/>
          </p:nvGrpSpPr>
          <p:grpSpPr>
            <a:xfrm>
              <a:off x="4288359" y="514432"/>
              <a:ext cx="1081384" cy="1080341"/>
              <a:chOff x="5273675" y="2606675"/>
              <a:chExt cx="1646238" cy="1644650"/>
            </a:xfrm>
          </p:grpSpPr>
          <p:sp>
            <p:nvSpPr>
              <p:cNvPr id="1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0" name="Group 19"/>
              <p:cNvGrpSpPr/>
              <p:nvPr/>
            </p:nvGrpSpPr>
            <p:grpSpPr>
              <a:xfrm>
                <a:off x="5565774" y="2776538"/>
                <a:ext cx="1062038" cy="1322388"/>
                <a:chOff x="5565774" y="2776538"/>
                <a:chExt cx="1062038" cy="1322388"/>
              </a:xfrm>
            </p:grpSpPr>
            <p:sp>
              <p:nvSpPr>
                <p:cNvPr id="21" name="Freeform 20"/>
                <p:cNvSpPr>
                  <a:spLocks/>
                </p:cNvSpPr>
                <p:nvPr/>
              </p:nvSpPr>
              <p:spPr bwMode="auto">
                <a:xfrm>
                  <a:off x="5565774" y="2776538"/>
                  <a:ext cx="1062038" cy="1322388"/>
                </a:xfrm>
                <a:custGeom>
                  <a:avLst/>
                  <a:gdLst>
                    <a:gd name="connsiteX0" fmla="*/ 531020 w 1062038"/>
                    <a:gd name="connsiteY0" fmla="*/ 290512 h 1322388"/>
                    <a:gd name="connsiteX1" fmla="*/ 30163 w 1062038"/>
                    <a:gd name="connsiteY1" fmla="*/ 790575 h 1322388"/>
                    <a:gd name="connsiteX2" fmla="*/ 531020 w 1062038"/>
                    <a:gd name="connsiteY2" fmla="*/ 1290638 h 1322388"/>
                    <a:gd name="connsiteX3" fmla="*/ 1031877 w 1062038"/>
                    <a:gd name="connsiteY3" fmla="*/ 790575 h 1322388"/>
                    <a:gd name="connsiteX4" fmla="*/ 531020 w 1062038"/>
                    <a:gd name="connsiteY4" fmla="*/ 290512 h 1322388"/>
                    <a:gd name="connsiteX5" fmla="*/ 531019 w 1062038"/>
                    <a:gd name="connsiteY5" fmla="*/ 260350 h 1322388"/>
                    <a:gd name="connsiteX6" fmla="*/ 1062038 w 1062038"/>
                    <a:gd name="connsiteY6" fmla="*/ 791369 h 1322388"/>
                    <a:gd name="connsiteX7" fmla="*/ 531019 w 1062038"/>
                    <a:gd name="connsiteY7" fmla="*/ 1322388 h 1322388"/>
                    <a:gd name="connsiteX8" fmla="*/ 0 w 1062038"/>
                    <a:gd name="connsiteY8" fmla="*/ 791369 h 1322388"/>
                    <a:gd name="connsiteX9" fmla="*/ 531019 w 1062038"/>
                    <a:gd name="connsiteY9" fmla="*/ 260350 h 1322388"/>
                    <a:gd name="connsiteX10" fmla="*/ 931683 w 1062038"/>
                    <a:gd name="connsiteY10" fmla="*/ 238511 h 1322388"/>
                    <a:gd name="connsiteX11" fmla="*/ 943095 w 1062038"/>
                    <a:gd name="connsiteY11" fmla="*/ 242997 h 1322388"/>
                    <a:gd name="connsiteX12" fmla="*/ 1044455 w 1062038"/>
                    <a:gd name="connsiteY12" fmla="*/ 335583 h 1322388"/>
                    <a:gd name="connsiteX13" fmla="*/ 1045174 w 1062038"/>
                    <a:gd name="connsiteY13" fmla="*/ 357832 h 1322388"/>
                    <a:gd name="connsiteX14" fmla="*/ 984789 w 1062038"/>
                    <a:gd name="connsiteY14" fmla="*/ 423862 h 1322388"/>
                    <a:gd name="connsiteX15" fmla="*/ 860425 w 1062038"/>
                    <a:gd name="connsiteY15" fmla="*/ 309027 h 1322388"/>
                    <a:gd name="connsiteX16" fmla="*/ 920810 w 1062038"/>
                    <a:gd name="connsiteY16" fmla="*/ 243714 h 1322388"/>
                    <a:gd name="connsiteX17" fmla="*/ 931683 w 1062038"/>
                    <a:gd name="connsiteY17" fmla="*/ 238511 h 1322388"/>
                    <a:gd name="connsiteX18" fmla="*/ 129462 w 1062038"/>
                    <a:gd name="connsiteY18" fmla="*/ 236909 h 1322388"/>
                    <a:gd name="connsiteX19" fmla="*/ 140253 w 1062038"/>
                    <a:gd name="connsiteY19" fmla="*/ 242073 h 1322388"/>
                    <a:gd name="connsiteX20" fmla="*/ 201613 w 1062038"/>
                    <a:gd name="connsiteY20" fmla="*/ 309025 h 1322388"/>
                    <a:gd name="connsiteX21" fmla="*/ 78180 w 1062038"/>
                    <a:gd name="connsiteY21" fmla="*/ 422275 h 1322388"/>
                    <a:gd name="connsiteX22" fmla="*/ 16821 w 1062038"/>
                    <a:gd name="connsiteY22" fmla="*/ 355322 h 1322388"/>
                    <a:gd name="connsiteX23" fmla="*/ 17534 w 1062038"/>
                    <a:gd name="connsiteY23" fmla="*/ 333242 h 1322388"/>
                    <a:gd name="connsiteX24" fmla="*/ 118135 w 1062038"/>
                    <a:gd name="connsiteY24" fmla="*/ 241360 h 1322388"/>
                    <a:gd name="connsiteX25" fmla="*/ 129462 w 1062038"/>
                    <a:gd name="connsiteY25" fmla="*/ 236909 h 1322388"/>
                    <a:gd name="connsiteX26" fmla="*/ 380807 w 1062038"/>
                    <a:gd name="connsiteY26" fmla="*/ 0 h 1322388"/>
                    <a:gd name="connsiteX27" fmla="*/ 678056 w 1062038"/>
                    <a:gd name="connsiteY27" fmla="*/ 0 h 1322388"/>
                    <a:gd name="connsiteX28" fmla="*/ 693738 w 1062038"/>
                    <a:gd name="connsiteY28" fmla="*/ 15746 h 1322388"/>
                    <a:gd name="connsiteX29" fmla="*/ 693738 w 1062038"/>
                    <a:gd name="connsiteY29" fmla="*/ 163185 h 1322388"/>
                    <a:gd name="connsiteX30" fmla="*/ 588953 w 1062038"/>
                    <a:gd name="connsiteY30" fmla="*/ 163185 h 1322388"/>
                    <a:gd name="connsiteX31" fmla="*/ 588953 w 1062038"/>
                    <a:gd name="connsiteY31" fmla="*/ 210422 h 1322388"/>
                    <a:gd name="connsiteX32" fmla="*/ 531214 w 1062038"/>
                    <a:gd name="connsiteY32" fmla="*/ 207560 h 1322388"/>
                    <a:gd name="connsiteX33" fmla="*/ 469198 w 1062038"/>
                    <a:gd name="connsiteY33" fmla="*/ 211138 h 1322388"/>
                    <a:gd name="connsiteX34" fmla="*/ 469198 w 1062038"/>
                    <a:gd name="connsiteY34" fmla="*/ 163185 h 1322388"/>
                    <a:gd name="connsiteX35" fmla="*/ 365125 w 1062038"/>
                    <a:gd name="connsiteY35" fmla="*/ 163185 h 1322388"/>
                    <a:gd name="connsiteX36" fmla="*/ 365125 w 1062038"/>
                    <a:gd name="connsiteY36" fmla="*/ 15746 h 1322388"/>
                    <a:gd name="connsiteX37" fmla="*/ 380807 w 1062038"/>
                    <a:gd name="connsiteY37" fmla="*/ 0 h 13223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62038" h="1322388">
                      <a:moveTo>
                        <a:pt x="531020" y="290512"/>
                      </a:moveTo>
                      <a:cubicBezTo>
                        <a:pt x="254404" y="290512"/>
                        <a:pt x="30163" y="514398"/>
                        <a:pt x="30163" y="790575"/>
                      </a:cubicBezTo>
                      <a:cubicBezTo>
                        <a:pt x="30163" y="1066752"/>
                        <a:pt x="254404" y="1290638"/>
                        <a:pt x="531020" y="1290638"/>
                      </a:cubicBezTo>
                      <a:cubicBezTo>
                        <a:pt x="807636" y="1290638"/>
                        <a:pt x="1031877" y="1066752"/>
                        <a:pt x="1031877" y="790575"/>
                      </a:cubicBezTo>
                      <a:cubicBezTo>
                        <a:pt x="1031877" y="514398"/>
                        <a:pt x="807636" y="290512"/>
                        <a:pt x="531020" y="290512"/>
                      </a:cubicBezTo>
                      <a:close/>
                      <a:moveTo>
                        <a:pt x="531019" y="260350"/>
                      </a:moveTo>
                      <a:cubicBezTo>
                        <a:pt x="824293" y="260350"/>
                        <a:pt x="1062038" y="498095"/>
                        <a:pt x="1062038" y="791369"/>
                      </a:cubicBezTo>
                      <a:cubicBezTo>
                        <a:pt x="1062038" y="1084643"/>
                        <a:pt x="824293" y="1322388"/>
                        <a:pt x="531019" y="1322388"/>
                      </a:cubicBezTo>
                      <a:cubicBezTo>
                        <a:pt x="237745" y="1322388"/>
                        <a:pt x="0" y="1084643"/>
                        <a:pt x="0" y="791369"/>
                      </a:cubicBezTo>
                      <a:cubicBezTo>
                        <a:pt x="0" y="498095"/>
                        <a:pt x="237745" y="260350"/>
                        <a:pt x="531019" y="260350"/>
                      </a:cubicBezTo>
                      <a:close/>
                      <a:moveTo>
                        <a:pt x="931683" y="238511"/>
                      </a:moveTo>
                      <a:cubicBezTo>
                        <a:pt x="935727" y="238331"/>
                        <a:pt x="939860" y="239767"/>
                        <a:pt x="943095" y="242997"/>
                      </a:cubicBezTo>
                      <a:cubicBezTo>
                        <a:pt x="943095" y="242997"/>
                        <a:pt x="943095" y="242997"/>
                        <a:pt x="1044455" y="335583"/>
                      </a:cubicBezTo>
                      <a:cubicBezTo>
                        <a:pt x="1050925" y="341324"/>
                        <a:pt x="1050925" y="351372"/>
                        <a:pt x="1045174" y="357832"/>
                      </a:cubicBezTo>
                      <a:cubicBezTo>
                        <a:pt x="1045174" y="357832"/>
                        <a:pt x="1045174" y="357832"/>
                        <a:pt x="984789" y="423862"/>
                      </a:cubicBezTo>
                      <a:cubicBezTo>
                        <a:pt x="948846" y="380081"/>
                        <a:pt x="907152" y="341324"/>
                        <a:pt x="860425" y="309027"/>
                      </a:cubicBezTo>
                      <a:cubicBezTo>
                        <a:pt x="860425" y="309027"/>
                        <a:pt x="860425" y="309027"/>
                        <a:pt x="920810" y="243714"/>
                      </a:cubicBezTo>
                      <a:cubicBezTo>
                        <a:pt x="923686" y="240485"/>
                        <a:pt x="927640" y="238690"/>
                        <a:pt x="931683" y="238511"/>
                      </a:cubicBezTo>
                      <a:close/>
                      <a:moveTo>
                        <a:pt x="129462" y="236909"/>
                      </a:moveTo>
                      <a:cubicBezTo>
                        <a:pt x="133475" y="237087"/>
                        <a:pt x="137399" y="238867"/>
                        <a:pt x="140253" y="242073"/>
                      </a:cubicBezTo>
                      <a:cubicBezTo>
                        <a:pt x="140253" y="242073"/>
                        <a:pt x="140253" y="242073"/>
                        <a:pt x="201613" y="309025"/>
                      </a:cubicBezTo>
                      <a:cubicBezTo>
                        <a:pt x="155236" y="340365"/>
                        <a:pt x="113854" y="378827"/>
                        <a:pt x="78180" y="422275"/>
                      </a:cubicBezTo>
                      <a:lnTo>
                        <a:pt x="16821" y="355322"/>
                      </a:lnTo>
                      <a:cubicBezTo>
                        <a:pt x="11113" y="348912"/>
                        <a:pt x="11113" y="338940"/>
                        <a:pt x="17534" y="333242"/>
                      </a:cubicBezTo>
                      <a:cubicBezTo>
                        <a:pt x="17534" y="333242"/>
                        <a:pt x="17534" y="333242"/>
                        <a:pt x="118135" y="241360"/>
                      </a:cubicBezTo>
                      <a:cubicBezTo>
                        <a:pt x="121346" y="238155"/>
                        <a:pt x="125449" y="236731"/>
                        <a:pt x="129462" y="236909"/>
                      </a:cubicBezTo>
                      <a:close/>
                      <a:moveTo>
                        <a:pt x="380807" y="0"/>
                      </a:moveTo>
                      <a:cubicBezTo>
                        <a:pt x="380807" y="0"/>
                        <a:pt x="380807" y="0"/>
                        <a:pt x="678056" y="0"/>
                      </a:cubicBezTo>
                      <a:cubicBezTo>
                        <a:pt x="686610" y="0"/>
                        <a:pt x="693738" y="7157"/>
                        <a:pt x="693738" y="15746"/>
                      </a:cubicBezTo>
                      <a:cubicBezTo>
                        <a:pt x="693738" y="15746"/>
                        <a:pt x="693738" y="15746"/>
                        <a:pt x="693738" y="163185"/>
                      </a:cubicBezTo>
                      <a:cubicBezTo>
                        <a:pt x="693738" y="163185"/>
                        <a:pt x="693738" y="163185"/>
                        <a:pt x="588953" y="163185"/>
                      </a:cubicBezTo>
                      <a:cubicBezTo>
                        <a:pt x="588953" y="163185"/>
                        <a:pt x="588953" y="163185"/>
                        <a:pt x="588953" y="210422"/>
                      </a:cubicBezTo>
                      <a:cubicBezTo>
                        <a:pt x="570419" y="208275"/>
                        <a:pt x="551173" y="207560"/>
                        <a:pt x="531214" y="207560"/>
                      </a:cubicBezTo>
                      <a:cubicBezTo>
                        <a:pt x="510542" y="207560"/>
                        <a:pt x="489870" y="208991"/>
                        <a:pt x="469198" y="211138"/>
                      </a:cubicBezTo>
                      <a:lnTo>
                        <a:pt x="469198" y="163185"/>
                      </a:lnTo>
                      <a:cubicBezTo>
                        <a:pt x="469198" y="163185"/>
                        <a:pt x="469198" y="163185"/>
                        <a:pt x="365125" y="163185"/>
                      </a:cubicBezTo>
                      <a:cubicBezTo>
                        <a:pt x="365125" y="163185"/>
                        <a:pt x="365125" y="163185"/>
                        <a:pt x="365125" y="15746"/>
                      </a:cubicBezTo>
                      <a:cubicBezTo>
                        <a:pt x="365125" y="7157"/>
                        <a:pt x="372254" y="0"/>
                        <a:pt x="380807" y="0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21"/>
                <p:cNvSpPr>
                  <a:spLocks/>
                </p:cNvSpPr>
                <p:nvPr/>
              </p:nvSpPr>
              <p:spPr bwMode="auto">
                <a:xfrm>
                  <a:off x="5629275" y="3100388"/>
                  <a:ext cx="935038" cy="935038"/>
                </a:xfrm>
                <a:custGeom>
                  <a:avLst/>
                  <a:gdLst>
                    <a:gd name="connsiteX0" fmla="*/ 254333 w 935038"/>
                    <a:gd name="connsiteY0" fmla="*/ 804700 h 935038"/>
                    <a:gd name="connsiteX1" fmla="*/ 238852 w 935038"/>
                    <a:gd name="connsiteY1" fmla="*/ 817085 h 935038"/>
                    <a:gd name="connsiteX2" fmla="*/ 248052 w 935038"/>
                    <a:gd name="connsiteY2" fmla="*/ 851761 h 935038"/>
                    <a:gd name="connsiteX3" fmla="*/ 282729 w 935038"/>
                    <a:gd name="connsiteY3" fmla="*/ 842561 h 935038"/>
                    <a:gd name="connsiteX4" fmla="*/ 273529 w 935038"/>
                    <a:gd name="connsiteY4" fmla="*/ 807177 h 935038"/>
                    <a:gd name="connsiteX5" fmla="*/ 254333 w 935038"/>
                    <a:gd name="connsiteY5" fmla="*/ 804700 h 935038"/>
                    <a:gd name="connsiteX6" fmla="*/ 684858 w 935038"/>
                    <a:gd name="connsiteY6" fmla="*/ 803112 h 935038"/>
                    <a:gd name="connsiteX7" fmla="*/ 665144 w 935038"/>
                    <a:gd name="connsiteY7" fmla="*/ 805589 h 935038"/>
                    <a:gd name="connsiteX8" fmla="*/ 654968 w 935038"/>
                    <a:gd name="connsiteY8" fmla="*/ 840973 h 935038"/>
                    <a:gd name="connsiteX9" fmla="*/ 691309 w 935038"/>
                    <a:gd name="connsiteY9" fmla="*/ 850173 h 935038"/>
                    <a:gd name="connsiteX10" fmla="*/ 700757 w 935038"/>
                    <a:gd name="connsiteY10" fmla="*/ 815497 h 935038"/>
                    <a:gd name="connsiteX11" fmla="*/ 684858 w 935038"/>
                    <a:gd name="connsiteY11" fmla="*/ 803112 h 935038"/>
                    <a:gd name="connsiteX12" fmla="*/ 113615 w 935038"/>
                    <a:gd name="connsiteY12" fmla="*/ 652212 h 935038"/>
                    <a:gd name="connsiteX13" fmla="*/ 94065 w 935038"/>
                    <a:gd name="connsiteY13" fmla="*/ 654777 h 935038"/>
                    <a:gd name="connsiteX14" fmla="*/ 84865 w 935038"/>
                    <a:gd name="connsiteY14" fmla="*/ 690161 h 935038"/>
                    <a:gd name="connsiteX15" fmla="*/ 119542 w 935038"/>
                    <a:gd name="connsiteY15" fmla="*/ 699361 h 935038"/>
                    <a:gd name="connsiteX16" fmla="*/ 129449 w 935038"/>
                    <a:gd name="connsiteY16" fmla="*/ 663977 h 935038"/>
                    <a:gd name="connsiteX17" fmla="*/ 113615 w 935038"/>
                    <a:gd name="connsiteY17" fmla="*/ 652212 h 935038"/>
                    <a:gd name="connsiteX18" fmla="*/ 824246 w 935038"/>
                    <a:gd name="connsiteY18" fmla="*/ 649249 h 935038"/>
                    <a:gd name="connsiteX19" fmla="*/ 808765 w 935038"/>
                    <a:gd name="connsiteY19" fmla="*/ 661968 h 935038"/>
                    <a:gd name="connsiteX20" fmla="*/ 817965 w 935038"/>
                    <a:gd name="connsiteY20" fmla="*/ 697582 h 935038"/>
                    <a:gd name="connsiteX21" fmla="*/ 853349 w 935038"/>
                    <a:gd name="connsiteY21" fmla="*/ 688134 h 935038"/>
                    <a:gd name="connsiteX22" fmla="*/ 843442 w 935038"/>
                    <a:gd name="connsiteY22" fmla="*/ 651793 h 935038"/>
                    <a:gd name="connsiteX23" fmla="*/ 824246 w 935038"/>
                    <a:gd name="connsiteY23" fmla="*/ 649249 h 935038"/>
                    <a:gd name="connsiteX24" fmla="*/ 710440 w 935038"/>
                    <a:gd name="connsiteY24" fmla="*/ 257904 h 935038"/>
                    <a:gd name="connsiteX25" fmla="*/ 698455 w 935038"/>
                    <a:gd name="connsiteY25" fmla="*/ 261291 h 935038"/>
                    <a:gd name="connsiteX26" fmla="*/ 492382 w 935038"/>
                    <a:gd name="connsiteY26" fmla="*/ 416019 h 935038"/>
                    <a:gd name="connsiteX27" fmla="*/ 479503 w 935038"/>
                    <a:gd name="connsiteY27" fmla="*/ 425289 h 935038"/>
                    <a:gd name="connsiteX28" fmla="*/ 468770 w 935038"/>
                    <a:gd name="connsiteY28" fmla="*/ 423862 h 935038"/>
                    <a:gd name="connsiteX29" fmla="*/ 453028 w 935038"/>
                    <a:gd name="connsiteY29" fmla="*/ 426715 h 935038"/>
                    <a:gd name="connsiteX30" fmla="*/ 443011 w 935038"/>
                    <a:gd name="connsiteY30" fmla="*/ 421010 h 935038"/>
                    <a:gd name="connsiteX31" fmla="*/ 311353 w 935038"/>
                    <a:gd name="connsiteY31" fmla="*/ 348994 h 935038"/>
                    <a:gd name="connsiteX32" fmla="*/ 288456 w 935038"/>
                    <a:gd name="connsiteY32" fmla="*/ 353985 h 935038"/>
                    <a:gd name="connsiteX33" fmla="*/ 294181 w 935038"/>
                    <a:gd name="connsiteY33" fmla="*/ 376802 h 935038"/>
                    <a:gd name="connsiteX34" fmla="*/ 426554 w 935038"/>
                    <a:gd name="connsiteY34" fmla="*/ 467357 h 935038"/>
                    <a:gd name="connsiteX35" fmla="*/ 468770 w 935038"/>
                    <a:gd name="connsiteY35" fmla="*/ 508000 h 935038"/>
                    <a:gd name="connsiteX36" fmla="*/ 510986 w 935038"/>
                    <a:gd name="connsiteY36" fmla="*/ 465931 h 935038"/>
                    <a:gd name="connsiteX37" fmla="*/ 510271 w 935038"/>
                    <a:gd name="connsiteY37" fmla="*/ 464505 h 935038"/>
                    <a:gd name="connsiteX38" fmla="*/ 719205 w 935038"/>
                    <a:gd name="connsiteY38" fmla="*/ 286960 h 935038"/>
                    <a:gd name="connsiteX39" fmla="*/ 721352 w 935038"/>
                    <a:gd name="connsiteY39" fmla="*/ 264143 h 935038"/>
                    <a:gd name="connsiteX40" fmla="*/ 710440 w 935038"/>
                    <a:gd name="connsiteY40" fmla="*/ 257904 h 935038"/>
                    <a:gd name="connsiteX41" fmla="*/ 98758 w 935038"/>
                    <a:gd name="connsiteY41" fmla="*/ 234699 h 935038"/>
                    <a:gd name="connsiteX42" fmla="*/ 83277 w 935038"/>
                    <a:gd name="connsiteY42" fmla="*/ 246464 h 935038"/>
                    <a:gd name="connsiteX43" fmla="*/ 92477 w 935038"/>
                    <a:gd name="connsiteY43" fmla="*/ 281848 h 935038"/>
                    <a:gd name="connsiteX44" fmla="*/ 127861 w 935038"/>
                    <a:gd name="connsiteY44" fmla="*/ 272648 h 935038"/>
                    <a:gd name="connsiteX45" fmla="*/ 117954 w 935038"/>
                    <a:gd name="connsiteY45" fmla="*/ 237264 h 935038"/>
                    <a:gd name="connsiteX46" fmla="*/ 98758 w 935038"/>
                    <a:gd name="connsiteY46" fmla="*/ 234699 h 935038"/>
                    <a:gd name="connsiteX47" fmla="*/ 835927 w 935038"/>
                    <a:gd name="connsiteY47" fmla="*/ 233043 h 935038"/>
                    <a:gd name="connsiteX48" fmla="*/ 816377 w 935038"/>
                    <a:gd name="connsiteY48" fmla="*/ 235570 h 935038"/>
                    <a:gd name="connsiteX49" fmla="*/ 807177 w 935038"/>
                    <a:gd name="connsiteY49" fmla="*/ 269720 h 935038"/>
                    <a:gd name="connsiteX50" fmla="*/ 841854 w 935038"/>
                    <a:gd name="connsiteY50" fmla="*/ 278781 h 935038"/>
                    <a:gd name="connsiteX51" fmla="*/ 851761 w 935038"/>
                    <a:gd name="connsiteY51" fmla="*/ 244630 h 935038"/>
                    <a:gd name="connsiteX52" fmla="*/ 835927 w 935038"/>
                    <a:gd name="connsiteY52" fmla="*/ 233043 h 935038"/>
                    <a:gd name="connsiteX53" fmla="*/ 264692 w 935038"/>
                    <a:gd name="connsiteY53" fmla="*/ 80924 h 935038"/>
                    <a:gd name="connsiteX54" fmla="*/ 244877 w 935038"/>
                    <a:gd name="connsiteY54" fmla="*/ 83468 h 935038"/>
                    <a:gd name="connsiteX55" fmla="*/ 235677 w 935038"/>
                    <a:gd name="connsiteY55" fmla="*/ 119809 h 935038"/>
                    <a:gd name="connsiteX56" fmla="*/ 271061 w 935038"/>
                    <a:gd name="connsiteY56" fmla="*/ 129257 h 935038"/>
                    <a:gd name="connsiteX57" fmla="*/ 280261 w 935038"/>
                    <a:gd name="connsiteY57" fmla="*/ 93643 h 935038"/>
                    <a:gd name="connsiteX58" fmla="*/ 264692 w 935038"/>
                    <a:gd name="connsiteY58" fmla="*/ 80924 h 935038"/>
                    <a:gd name="connsiteX59" fmla="*/ 668759 w 935038"/>
                    <a:gd name="connsiteY59" fmla="*/ 79336 h 935038"/>
                    <a:gd name="connsiteX60" fmla="*/ 653190 w 935038"/>
                    <a:gd name="connsiteY60" fmla="*/ 92055 h 935038"/>
                    <a:gd name="connsiteX61" fmla="*/ 662390 w 935038"/>
                    <a:gd name="connsiteY61" fmla="*/ 127669 h 935038"/>
                    <a:gd name="connsiteX62" fmla="*/ 697774 w 935038"/>
                    <a:gd name="connsiteY62" fmla="*/ 118221 h 935038"/>
                    <a:gd name="connsiteX63" fmla="*/ 688574 w 935038"/>
                    <a:gd name="connsiteY63" fmla="*/ 81880 h 935038"/>
                    <a:gd name="connsiteX64" fmla="*/ 668759 w 935038"/>
                    <a:gd name="connsiteY64" fmla="*/ 79336 h 935038"/>
                    <a:gd name="connsiteX65" fmla="*/ 440018 w 935038"/>
                    <a:gd name="connsiteY65" fmla="*/ 0 h 935038"/>
                    <a:gd name="connsiteX66" fmla="*/ 440018 w 935038"/>
                    <a:gd name="connsiteY66" fmla="*/ 49288 h 935038"/>
                    <a:gd name="connsiteX67" fmla="*/ 466448 w 935038"/>
                    <a:gd name="connsiteY67" fmla="*/ 75717 h 935038"/>
                    <a:gd name="connsiteX68" fmla="*/ 492163 w 935038"/>
                    <a:gd name="connsiteY68" fmla="*/ 49288 h 935038"/>
                    <a:gd name="connsiteX69" fmla="*/ 492163 w 935038"/>
                    <a:gd name="connsiteY69" fmla="*/ 0 h 935038"/>
                    <a:gd name="connsiteX70" fmla="*/ 935038 w 935038"/>
                    <a:gd name="connsiteY70" fmla="*/ 440018 h 935038"/>
                    <a:gd name="connsiteX71" fmla="*/ 885751 w 935038"/>
                    <a:gd name="connsiteY71" fmla="*/ 440018 h 935038"/>
                    <a:gd name="connsiteX72" fmla="*/ 859321 w 935038"/>
                    <a:gd name="connsiteY72" fmla="*/ 465733 h 935038"/>
                    <a:gd name="connsiteX73" fmla="*/ 885751 w 935038"/>
                    <a:gd name="connsiteY73" fmla="*/ 491449 h 935038"/>
                    <a:gd name="connsiteX74" fmla="*/ 935038 w 935038"/>
                    <a:gd name="connsiteY74" fmla="*/ 491449 h 935038"/>
                    <a:gd name="connsiteX75" fmla="*/ 495020 w 935038"/>
                    <a:gd name="connsiteY75" fmla="*/ 934324 h 935038"/>
                    <a:gd name="connsiteX76" fmla="*/ 495020 w 935038"/>
                    <a:gd name="connsiteY76" fmla="*/ 885036 h 935038"/>
                    <a:gd name="connsiteX77" fmla="*/ 469305 w 935038"/>
                    <a:gd name="connsiteY77" fmla="*/ 859321 h 935038"/>
                    <a:gd name="connsiteX78" fmla="*/ 442875 w 935038"/>
                    <a:gd name="connsiteY78" fmla="*/ 885036 h 935038"/>
                    <a:gd name="connsiteX79" fmla="*/ 442875 w 935038"/>
                    <a:gd name="connsiteY79" fmla="*/ 935038 h 935038"/>
                    <a:gd name="connsiteX80" fmla="*/ 0 w 935038"/>
                    <a:gd name="connsiteY80" fmla="*/ 495020 h 935038"/>
                    <a:gd name="connsiteX81" fmla="*/ 50002 w 935038"/>
                    <a:gd name="connsiteY81" fmla="*/ 495020 h 935038"/>
                    <a:gd name="connsiteX82" fmla="*/ 75718 w 935038"/>
                    <a:gd name="connsiteY82" fmla="*/ 468591 h 935038"/>
                    <a:gd name="connsiteX83" fmla="*/ 50002 w 935038"/>
                    <a:gd name="connsiteY83" fmla="*/ 442875 h 935038"/>
                    <a:gd name="connsiteX84" fmla="*/ 0 w 935038"/>
                    <a:gd name="connsiteY84" fmla="*/ 442875 h 935038"/>
                    <a:gd name="connsiteX85" fmla="*/ 440018 w 935038"/>
                    <a:gd name="connsiteY85" fmla="*/ 0 h 935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935038" h="935038">
                      <a:moveTo>
                        <a:pt x="254333" y="804700"/>
                      </a:moveTo>
                      <a:cubicBezTo>
                        <a:pt x="248052" y="806469"/>
                        <a:pt x="242391" y="810715"/>
                        <a:pt x="238852" y="817085"/>
                      </a:cubicBezTo>
                      <a:cubicBezTo>
                        <a:pt x="231775" y="829115"/>
                        <a:pt x="236021" y="844684"/>
                        <a:pt x="248052" y="851761"/>
                      </a:cubicBezTo>
                      <a:cubicBezTo>
                        <a:pt x="260083" y="858838"/>
                        <a:pt x="275652" y="854592"/>
                        <a:pt x="282729" y="842561"/>
                      </a:cubicBezTo>
                      <a:cubicBezTo>
                        <a:pt x="290513" y="829823"/>
                        <a:pt x="286267" y="814254"/>
                        <a:pt x="273529" y="807177"/>
                      </a:cubicBezTo>
                      <a:cubicBezTo>
                        <a:pt x="267514" y="803639"/>
                        <a:pt x="260614" y="802931"/>
                        <a:pt x="254333" y="804700"/>
                      </a:cubicBezTo>
                      <a:close/>
                      <a:moveTo>
                        <a:pt x="684858" y="803112"/>
                      </a:moveTo>
                      <a:cubicBezTo>
                        <a:pt x="678408" y="801343"/>
                        <a:pt x="671321" y="802050"/>
                        <a:pt x="665144" y="805589"/>
                      </a:cubicBezTo>
                      <a:cubicBezTo>
                        <a:pt x="652061" y="812666"/>
                        <a:pt x="647700" y="828235"/>
                        <a:pt x="654968" y="840973"/>
                      </a:cubicBezTo>
                      <a:cubicBezTo>
                        <a:pt x="662236" y="853004"/>
                        <a:pt x="678953" y="857250"/>
                        <a:pt x="691309" y="850173"/>
                      </a:cubicBezTo>
                      <a:cubicBezTo>
                        <a:pt x="703664" y="843096"/>
                        <a:pt x="708025" y="827527"/>
                        <a:pt x="700757" y="815497"/>
                      </a:cubicBezTo>
                      <a:cubicBezTo>
                        <a:pt x="697123" y="809127"/>
                        <a:pt x="691309" y="804881"/>
                        <a:pt x="684858" y="803112"/>
                      </a:cubicBezTo>
                      <a:close/>
                      <a:moveTo>
                        <a:pt x="113615" y="652212"/>
                      </a:moveTo>
                      <a:cubicBezTo>
                        <a:pt x="107157" y="650531"/>
                        <a:pt x="100081" y="651239"/>
                        <a:pt x="94065" y="654777"/>
                      </a:cubicBezTo>
                      <a:cubicBezTo>
                        <a:pt x="82034" y="661854"/>
                        <a:pt x="77788" y="677423"/>
                        <a:pt x="84865" y="690161"/>
                      </a:cubicBezTo>
                      <a:cubicBezTo>
                        <a:pt x="91942" y="702192"/>
                        <a:pt x="107511" y="706438"/>
                        <a:pt x="119542" y="699361"/>
                      </a:cubicBezTo>
                      <a:cubicBezTo>
                        <a:pt x="132280" y="692284"/>
                        <a:pt x="136526" y="676715"/>
                        <a:pt x="129449" y="663977"/>
                      </a:cubicBezTo>
                      <a:cubicBezTo>
                        <a:pt x="125911" y="657962"/>
                        <a:pt x="120073" y="653892"/>
                        <a:pt x="113615" y="652212"/>
                      </a:cubicBezTo>
                      <a:close/>
                      <a:moveTo>
                        <a:pt x="824246" y="649249"/>
                      </a:moveTo>
                      <a:cubicBezTo>
                        <a:pt x="817965" y="651066"/>
                        <a:pt x="812303" y="655427"/>
                        <a:pt x="808765" y="661968"/>
                      </a:cubicBezTo>
                      <a:cubicBezTo>
                        <a:pt x="801688" y="674324"/>
                        <a:pt x="805934" y="690314"/>
                        <a:pt x="817965" y="697582"/>
                      </a:cubicBezTo>
                      <a:cubicBezTo>
                        <a:pt x="829996" y="704850"/>
                        <a:pt x="846273" y="700489"/>
                        <a:pt x="853349" y="688134"/>
                      </a:cubicBezTo>
                      <a:cubicBezTo>
                        <a:pt x="860426" y="675778"/>
                        <a:pt x="856180" y="659061"/>
                        <a:pt x="843442" y="651793"/>
                      </a:cubicBezTo>
                      <a:cubicBezTo>
                        <a:pt x="837426" y="648159"/>
                        <a:pt x="830526" y="647432"/>
                        <a:pt x="824246" y="649249"/>
                      </a:cubicBezTo>
                      <a:close/>
                      <a:moveTo>
                        <a:pt x="710440" y="257904"/>
                      </a:moveTo>
                      <a:cubicBezTo>
                        <a:pt x="706326" y="257370"/>
                        <a:pt x="702033" y="258439"/>
                        <a:pt x="698455" y="261291"/>
                      </a:cubicBezTo>
                      <a:cubicBezTo>
                        <a:pt x="698455" y="261291"/>
                        <a:pt x="698455" y="261291"/>
                        <a:pt x="492382" y="416019"/>
                      </a:cubicBezTo>
                      <a:cubicBezTo>
                        <a:pt x="492382" y="416019"/>
                        <a:pt x="492382" y="416019"/>
                        <a:pt x="479503" y="425289"/>
                      </a:cubicBezTo>
                      <a:cubicBezTo>
                        <a:pt x="475925" y="424575"/>
                        <a:pt x="472348" y="423862"/>
                        <a:pt x="468770" y="423862"/>
                      </a:cubicBezTo>
                      <a:cubicBezTo>
                        <a:pt x="463046" y="423862"/>
                        <a:pt x="458037" y="424575"/>
                        <a:pt x="453028" y="426715"/>
                      </a:cubicBezTo>
                      <a:cubicBezTo>
                        <a:pt x="453028" y="426715"/>
                        <a:pt x="453028" y="426715"/>
                        <a:pt x="443011" y="421010"/>
                      </a:cubicBezTo>
                      <a:cubicBezTo>
                        <a:pt x="443011" y="421010"/>
                        <a:pt x="443011" y="421010"/>
                        <a:pt x="311353" y="348994"/>
                      </a:cubicBezTo>
                      <a:cubicBezTo>
                        <a:pt x="303483" y="344003"/>
                        <a:pt x="293465" y="346142"/>
                        <a:pt x="288456" y="353985"/>
                      </a:cubicBezTo>
                      <a:cubicBezTo>
                        <a:pt x="284163" y="361829"/>
                        <a:pt x="286310" y="371811"/>
                        <a:pt x="294181" y="376802"/>
                      </a:cubicBezTo>
                      <a:cubicBezTo>
                        <a:pt x="294181" y="376802"/>
                        <a:pt x="294181" y="376802"/>
                        <a:pt x="426554" y="467357"/>
                      </a:cubicBezTo>
                      <a:cubicBezTo>
                        <a:pt x="427269" y="490174"/>
                        <a:pt x="445873" y="508000"/>
                        <a:pt x="468770" y="508000"/>
                      </a:cubicBezTo>
                      <a:cubicBezTo>
                        <a:pt x="491667" y="508000"/>
                        <a:pt x="510986" y="489461"/>
                        <a:pt x="510986" y="465931"/>
                      </a:cubicBezTo>
                      <a:cubicBezTo>
                        <a:pt x="510986" y="465218"/>
                        <a:pt x="510271" y="465218"/>
                        <a:pt x="510271" y="464505"/>
                      </a:cubicBezTo>
                      <a:cubicBezTo>
                        <a:pt x="510271" y="464505"/>
                        <a:pt x="510271" y="464505"/>
                        <a:pt x="719205" y="286960"/>
                      </a:cubicBezTo>
                      <a:cubicBezTo>
                        <a:pt x="726361" y="281256"/>
                        <a:pt x="727076" y="271274"/>
                        <a:pt x="721352" y="264143"/>
                      </a:cubicBezTo>
                      <a:cubicBezTo>
                        <a:pt x="718490" y="260578"/>
                        <a:pt x="714554" y="258439"/>
                        <a:pt x="710440" y="257904"/>
                      </a:cubicBezTo>
                      <a:close/>
                      <a:moveTo>
                        <a:pt x="98758" y="234699"/>
                      </a:moveTo>
                      <a:cubicBezTo>
                        <a:pt x="92477" y="236379"/>
                        <a:pt x="86816" y="240449"/>
                        <a:pt x="83277" y="246464"/>
                      </a:cubicBezTo>
                      <a:cubicBezTo>
                        <a:pt x="76200" y="259202"/>
                        <a:pt x="80446" y="274771"/>
                        <a:pt x="92477" y="281848"/>
                      </a:cubicBezTo>
                      <a:cubicBezTo>
                        <a:pt x="104508" y="288925"/>
                        <a:pt x="120785" y="284679"/>
                        <a:pt x="127861" y="272648"/>
                      </a:cubicBezTo>
                      <a:cubicBezTo>
                        <a:pt x="134938" y="259910"/>
                        <a:pt x="130692" y="244341"/>
                        <a:pt x="117954" y="237264"/>
                      </a:cubicBezTo>
                      <a:cubicBezTo>
                        <a:pt x="111939" y="233726"/>
                        <a:pt x="105039" y="233018"/>
                        <a:pt x="98758" y="234699"/>
                      </a:cubicBezTo>
                      <a:close/>
                      <a:moveTo>
                        <a:pt x="835927" y="233043"/>
                      </a:moveTo>
                      <a:cubicBezTo>
                        <a:pt x="829469" y="231388"/>
                        <a:pt x="822393" y="232085"/>
                        <a:pt x="816377" y="235570"/>
                      </a:cubicBezTo>
                      <a:cubicBezTo>
                        <a:pt x="804346" y="242539"/>
                        <a:pt x="800100" y="257872"/>
                        <a:pt x="807177" y="269720"/>
                      </a:cubicBezTo>
                      <a:cubicBezTo>
                        <a:pt x="814254" y="282265"/>
                        <a:pt x="829823" y="285750"/>
                        <a:pt x="841854" y="278781"/>
                      </a:cubicBezTo>
                      <a:cubicBezTo>
                        <a:pt x="854592" y="271811"/>
                        <a:pt x="858838" y="256478"/>
                        <a:pt x="851761" y="244630"/>
                      </a:cubicBezTo>
                      <a:cubicBezTo>
                        <a:pt x="848223" y="238706"/>
                        <a:pt x="842385" y="234699"/>
                        <a:pt x="835927" y="233043"/>
                      </a:cubicBezTo>
                      <a:close/>
                      <a:moveTo>
                        <a:pt x="264692" y="80924"/>
                      </a:moveTo>
                      <a:cubicBezTo>
                        <a:pt x="258323" y="79107"/>
                        <a:pt x="251246" y="79834"/>
                        <a:pt x="244877" y="83468"/>
                      </a:cubicBezTo>
                      <a:cubicBezTo>
                        <a:pt x="232846" y="90736"/>
                        <a:pt x="228600" y="107453"/>
                        <a:pt x="235677" y="119809"/>
                      </a:cubicBezTo>
                      <a:cubicBezTo>
                        <a:pt x="242754" y="132164"/>
                        <a:pt x="258323" y="136525"/>
                        <a:pt x="271061" y="129257"/>
                      </a:cubicBezTo>
                      <a:cubicBezTo>
                        <a:pt x="283092" y="121989"/>
                        <a:pt x="287338" y="105999"/>
                        <a:pt x="280261" y="93643"/>
                      </a:cubicBezTo>
                      <a:cubicBezTo>
                        <a:pt x="276723" y="87102"/>
                        <a:pt x="271062" y="82741"/>
                        <a:pt x="264692" y="80924"/>
                      </a:cubicBezTo>
                      <a:close/>
                      <a:moveTo>
                        <a:pt x="668759" y="79336"/>
                      </a:moveTo>
                      <a:cubicBezTo>
                        <a:pt x="662390" y="81153"/>
                        <a:pt x="656729" y="85514"/>
                        <a:pt x="653190" y="92055"/>
                      </a:cubicBezTo>
                      <a:cubicBezTo>
                        <a:pt x="646113" y="104411"/>
                        <a:pt x="650359" y="120401"/>
                        <a:pt x="662390" y="127669"/>
                      </a:cubicBezTo>
                      <a:cubicBezTo>
                        <a:pt x="675128" y="134937"/>
                        <a:pt x="690698" y="130576"/>
                        <a:pt x="697774" y="118221"/>
                      </a:cubicBezTo>
                      <a:cubicBezTo>
                        <a:pt x="704851" y="105138"/>
                        <a:pt x="700605" y="89148"/>
                        <a:pt x="688574" y="81880"/>
                      </a:cubicBezTo>
                      <a:cubicBezTo>
                        <a:pt x="682205" y="78246"/>
                        <a:pt x="675128" y="77519"/>
                        <a:pt x="668759" y="79336"/>
                      </a:cubicBezTo>
                      <a:close/>
                      <a:moveTo>
                        <a:pt x="440018" y="0"/>
                      </a:moveTo>
                      <a:cubicBezTo>
                        <a:pt x="440018" y="0"/>
                        <a:pt x="440018" y="0"/>
                        <a:pt x="440018" y="49288"/>
                      </a:cubicBezTo>
                      <a:cubicBezTo>
                        <a:pt x="440018" y="63574"/>
                        <a:pt x="452161" y="75717"/>
                        <a:pt x="466448" y="75717"/>
                      </a:cubicBezTo>
                      <a:cubicBezTo>
                        <a:pt x="480734" y="75717"/>
                        <a:pt x="492163" y="63574"/>
                        <a:pt x="492163" y="49288"/>
                      </a:cubicBezTo>
                      <a:cubicBezTo>
                        <a:pt x="492163" y="49288"/>
                        <a:pt x="492163" y="49288"/>
                        <a:pt x="492163" y="0"/>
                      </a:cubicBezTo>
                      <a:cubicBezTo>
                        <a:pt x="730030" y="12143"/>
                        <a:pt x="921466" y="202151"/>
                        <a:pt x="935038" y="440018"/>
                      </a:cubicBezTo>
                      <a:cubicBezTo>
                        <a:pt x="935038" y="440018"/>
                        <a:pt x="935038" y="440018"/>
                        <a:pt x="885751" y="440018"/>
                      </a:cubicBezTo>
                      <a:cubicBezTo>
                        <a:pt x="871464" y="440018"/>
                        <a:pt x="859321" y="451447"/>
                        <a:pt x="859321" y="465733"/>
                      </a:cubicBezTo>
                      <a:cubicBezTo>
                        <a:pt x="859321" y="480020"/>
                        <a:pt x="871464" y="491449"/>
                        <a:pt x="885751" y="491449"/>
                      </a:cubicBezTo>
                      <a:lnTo>
                        <a:pt x="935038" y="491449"/>
                      </a:lnTo>
                      <a:cubicBezTo>
                        <a:pt x="922895" y="730030"/>
                        <a:pt x="732887" y="920752"/>
                        <a:pt x="495020" y="934324"/>
                      </a:cubicBezTo>
                      <a:cubicBezTo>
                        <a:pt x="495020" y="934324"/>
                        <a:pt x="495020" y="934324"/>
                        <a:pt x="495020" y="885036"/>
                      </a:cubicBezTo>
                      <a:cubicBezTo>
                        <a:pt x="495020" y="870750"/>
                        <a:pt x="483591" y="859321"/>
                        <a:pt x="469305" y="859321"/>
                      </a:cubicBezTo>
                      <a:cubicBezTo>
                        <a:pt x="455019" y="859321"/>
                        <a:pt x="442875" y="870750"/>
                        <a:pt x="442875" y="885036"/>
                      </a:cubicBezTo>
                      <a:cubicBezTo>
                        <a:pt x="442875" y="885036"/>
                        <a:pt x="442875" y="885036"/>
                        <a:pt x="442875" y="935038"/>
                      </a:cubicBezTo>
                      <a:cubicBezTo>
                        <a:pt x="205009" y="922895"/>
                        <a:pt x="14287" y="732173"/>
                        <a:pt x="0" y="495020"/>
                      </a:cubicBezTo>
                      <a:cubicBezTo>
                        <a:pt x="0" y="495020"/>
                        <a:pt x="0" y="495020"/>
                        <a:pt x="50002" y="495020"/>
                      </a:cubicBezTo>
                      <a:cubicBezTo>
                        <a:pt x="64289" y="495020"/>
                        <a:pt x="75718" y="482877"/>
                        <a:pt x="75718" y="468591"/>
                      </a:cubicBezTo>
                      <a:cubicBezTo>
                        <a:pt x="75718" y="454304"/>
                        <a:pt x="64289" y="442875"/>
                        <a:pt x="50002" y="442875"/>
                      </a:cubicBezTo>
                      <a:cubicBezTo>
                        <a:pt x="50002" y="442875"/>
                        <a:pt x="50002" y="442875"/>
                        <a:pt x="0" y="442875"/>
                      </a:cubicBezTo>
                      <a:cubicBezTo>
                        <a:pt x="12144" y="205008"/>
                        <a:pt x="202866" y="13572"/>
                        <a:pt x="440018" y="0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47" name="ee4pHeader1"/>
            <p:cNvSpPr txBox="1"/>
            <p:nvPr/>
          </p:nvSpPr>
          <p:spPr>
            <a:xfrm>
              <a:off x="5675086" y="654494"/>
              <a:ext cx="5695279" cy="80021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lvl="3"/>
              <a:r>
                <a:rPr lang="en-US" sz="2000" dirty="0">
                  <a:solidFill>
                    <a:srgbClr val="B61872">
                      <a:lumMod val="100000"/>
                    </a:srgbClr>
                  </a:solidFill>
                  <a:latin typeface="Trebuchet MS" panose="020B0603020202020204" pitchFamily="34" charset="0"/>
                </a:rPr>
                <a:t>Efficiency and effectiveness</a:t>
              </a:r>
            </a:p>
            <a:p>
              <a:pPr marL="0" lvl="3"/>
              <a:r>
                <a:rPr lang="en-US" sz="1600" dirty="0">
                  <a:latin typeface="Trebuchet MS" panose="020B0603020202020204" pitchFamily="34" charset="0"/>
                </a:rPr>
                <a:t>Minimize processing times of requirements within </a:t>
              </a:r>
              <a:r>
                <a:rPr lang="en-US" sz="1600" dirty="0" err="1">
                  <a:latin typeface="Trebuchet MS" panose="020B0603020202020204" pitchFamily="34" charset="0"/>
                </a:rPr>
                <a:t>FEC</a:t>
              </a:r>
              <a:r>
                <a:rPr lang="en-US" sz="1600" dirty="0">
                  <a:latin typeface="Trebuchet MS" panose="020B0603020202020204" pitchFamily="34" charset="0"/>
                </a:rPr>
                <a:t> and source as effectively as possible</a:t>
              </a:r>
              <a:endParaRPr lang="en-US" sz="1600" dirty="0">
                <a:solidFill>
                  <a:srgbClr val="B61872">
                    <a:lumMod val="100000"/>
                  </a:srgbClr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4288359" y="2066109"/>
            <a:ext cx="7269657" cy="1080341"/>
            <a:chOff x="4288359" y="2137607"/>
            <a:chExt cx="7269657" cy="1080341"/>
          </a:xfrm>
        </p:grpSpPr>
        <p:grpSp>
          <p:nvGrpSpPr>
            <p:cNvPr id="23" name="Group 22"/>
            <p:cNvGrpSpPr>
              <a:grpSpLocks noChangeAspect="1"/>
            </p:cNvGrpSpPr>
            <p:nvPr/>
          </p:nvGrpSpPr>
          <p:grpSpPr>
            <a:xfrm>
              <a:off x="4288359" y="2137607"/>
              <a:ext cx="1079342" cy="1080341"/>
              <a:chOff x="5273801" y="2606040"/>
              <a:chExt cx="1644397" cy="1645920"/>
            </a:xfrm>
          </p:grpSpPr>
          <p:sp>
            <p:nvSpPr>
              <p:cNvPr id="24" name="AutoShape 12">
                <a:extLst>
                  <a:ext uri="{FF2B5EF4-FFF2-40B4-BE49-F238E27FC236}">
                    <a16:creationId xmlns:a16="http://schemas.microsoft.com/office/drawing/2014/main" id="{0404F15B-46A3-46E4-8085-74FF02B2D88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7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5370956" y="3056763"/>
                <a:ext cx="1448944" cy="745998"/>
                <a:chOff x="5370956" y="3056763"/>
                <a:chExt cx="1448944" cy="745998"/>
              </a:xfrm>
            </p:grpSpPr>
            <p:sp>
              <p:nvSpPr>
                <p:cNvPr id="26" name="Freeform 14">
                  <a:extLst>
                    <a:ext uri="{FF2B5EF4-FFF2-40B4-BE49-F238E27FC236}">
                      <a16:creationId xmlns:a16="http://schemas.microsoft.com/office/drawing/2014/main" id="{F2E1839F-95BE-4872-A2D3-2F7CE08805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29680" y="3161919"/>
                  <a:ext cx="534543" cy="535686"/>
                </a:xfrm>
                <a:custGeom>
                  <a:avLst/>
                  <a:gdLst>
                    <a:gd name="T0" fmla="*/ 375 w 749"/>
                    <a:gd name="T1" fmla="*/ 0 h 750"/>
                    <a:gd name="T2" fmla="*/ 0 w 749"/>
                    <a:gd name="T3" fmla="*/ 375 h 750"/>
                    <a:gd name="T4" fmla="*/ 375 w 749"/>
                    <a:gd name="T5" fmla="*/ 750 h 750"/>
                    <a:gd name="T6" fmla="*/ 749 w 749"/>
                    <a:gd name="T7" fmla="*/ 375 h 750"/>
                    <a:gd name="T8" fmla="*/ 375 w 749"/>
                    <a:gd name="T9" fmla="*/ 0 h 750"/>
                    <a:gd name="T10" fmla="*/ 375 w 749"/>
                    <a:gd name="T11" fmla="*/ 549 h 750"/>
                    <a:gd name="T12" fmla="*/ 200 w 749"/>
                    <a:gd name="T13" fmla="*/ 375 h 750"/>
                    <a:gd name="T14" fmla="*/ 375 w 749"/>
                    <a:gd name="T15" fmla="*/ 201 h 750"/>
                    <a:gd name="T16" fmla="*/ 549 w 749"/>
                    <a:gd name="T17" fmla="*/ 375 h 750"/>
                    <a:gd name="T18" fmla="*/ 375 w 749"/>
                    <a:gd name="T19" fmla="*/ 549 h 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49" h="750">
                      <a:moveTo>
                        <a:pt x="375" y="0"/>
                      </a:moveTo>
                      <a:cubicBezTo>
                        <a:pt x="167" y="0"/>
                        <a:pt x="0" y="169"/>
                        <a:pt x="0" y="375"/>
                      </a:cubicBezTo>
                      <a:cubicBezTo>
                        <a:pt x="0" y="582"/>
                        <a:pt x="167" y="750"/>
                        <a:pt x="375" y="750"/>
                      </a:cubicBezTo>
                      <a:cubicBezTo>
                        <a:pt x="582" y="750"/>
                        <a:pt x="749" y="582"/>
                        <a:pt x="749" y="375"/>
                      </a:cubicBezTo>
                      <a:cubicBezTo>
                        <a:pt x="749" y="169"/>
                        <a:pt x="582" y="0"/>
                        <a:pt x="375" y="0"/>
                      </a:cubicBezTo>
                      <a:close/>
                      <a:moveTo>
                        <a:pt x="375" y="549"/>
                      </a:moveTo>
                      <a:cubicBezTo>
                        <a:pt x="279" y="549"/>
                        <a:pt x="200" y="472"/>
                        <a:pt x="200" y="375"/>
                      </a:cubicBezTo>
                      <a:cubicBezTo>
                        <a:pt x="200" y="279"/>
                        <a:pt x="279" y="201"/>
                        <a:pt x="375" y="201"/>
                      </a:cubicBezTo>
                      <a:cubicBezTo>
                        <a:pt x="471" y="201"/>
                        <a:pt x="549" y="279"/>
                        <a:pt x="549" y="375"/>
                      </a:cubicBezTo>
                      <a:cubicBezTo>
                        <a:pt x="549" y="472"/>
                        <a:pt x="471" y="549"/>
                        <a:pt x="375" y="549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15">
                  <a:extLst>
                    <a:ext uri="{FF2B5EF4-FFF2-40B4-BE49-F238E27FC236}">
                      <a16:creationId xmlns:a16="http://schemas.microsoft.com/office/drawing/2014/main" id="{4595F452-7D04-4C9E-B982-85F70F8BEB0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70956" y="3056763"/>
                  <a:ext cx="1448944" cy="745998"/>
                </a:xfrm>
                <a:custGeom>
                  <a:avLst/>
                  <a:gdLst>
                    <a:gd name="T0" fmla="*/ 1012 w 2030"/>
                    <a:gd name="T1" fmla="*/ 1044 h 1044"/>
                    <a:gd name="T2" fmla="*/ 293 w 2030"/>
                    <a:gd name="T3" fmla="*/ 790 h 1044"/>
                    <a:gd name="T4" fmla="*/ 7 w 2030"/>
                    <a:gd name="T5" fmla="*/ 536 h 1044"/>
                    <a:gd name="T6" fmla="*/ 7 w 2030"/>
                    <a:gd name="T7" fmla="*/ 508 h 1044"/>
                    <a:gd name="T8" fmla="*/ 295 w 2030"/>
                    <a:gd name="T9" fmla="*/ 254 h 1044"/>
                    <a:gd name="T10" fmla="*/ 1018 w 2030"/>
                    <a:gd name="T11" fmla="*/ 0 h 1044"/>
                    <a:gd name="T12" fmla="*/ 1737 w 2030"/>
                    <a:gd name="T13" fmla="*/ 254 h 1044"/>
                    <a:gd name="T14" fmla="*/ 2023 w 2030"/>
                    <a:gd name="T15" fmla="*/ 508 h 1044"/>
                    <a:gd name="T16" fmla="*/ 2023 w 2030"/>
                    <a:gd name="T17" fmla="*/ 536 h 1044"/>
                    <a:gd name="T18" fmla="*/ 1735 w 2030"/>
                    <a:gd name="T19" fmla="*/ 790 h 1044"/>
                    <a:gd name="T20" fmla="*/ 1012 w 2030"/>
                    <a:gd name="T21" fmla="*/ 1044 h 1044"/>
                    <a:gd name="T22" fmla="*/ 53 w 2030"/>
                    <a:gd name="T23" fmla="*/ 522 h 1044"/>
                    <a:gd name="T24" fmla="*/ 319 w 2030"/>
                    <a:gd name="T25" fmla="*/ 755 h 1044"/>
                    <a:gd name="T26" fmla="*/ 1012 w 2030"/>
                    <a:gd name="T27" fmla="*/ 1000 h 1044"/>
                    <a:gd name="T28" fmla="*/ 1709 w 2030"/>
                    <a:gd name="T29" fmla="*/ 754 h 1044"/>
                    <a:gd name="T30" fmla="*/ 1977 w 2030"/>
                    <a:gd name="T31" fmla="*/ 522 h 1044"/>
                    <a:gd name="T32" fmla="*/ 1711 w 2030"/>
                    <a:gd name="T33" fmla="*/ 289 h 1044"/>
                    <a:gd name="T34" fmla="*/ 1018 w 2030"/>
                    <a:gd name="T35" fmla="*/ 44 h 1044"/>
                    <a:gd name="T36" fmla="*/ 321 w 2030"/>
                    <a:gd name="T37" fmla="*/ 290 h 1044"/>
                    <a:gd name="T38" fmla="*/ 53 w 2030"/>
                    <a:gd name="T39" fmla="*/ 522 h 10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030" h="1044">
                      <a:moveTo>
                        <a:pt x="1012" y="1044"/>
                      </a:moveTo>
                      <a:cubicBezTo>
                        <a:pt x="714" y="1044"/>
                        <a:pt x="456" y="906"/>
                        <a:pt x="293" y="790"/>
                      </a:cubicBezTo>
                      <a:cubicBezTo>
                        <a:pt x="116" y="665"/>
                        <a:pt x="11" y="541"/>
                        <a:pt x="7" y="536"/>
                      </a:cubicBezTo>
                      <a:cubicBezTo>
                        <a:pt x="0" y="528"/>
                        <a:pt x="0" y="516"/>
                        <a:pt x="7" y="508"/>
                      </a:cubicBezTo>
                      <a:cubicBezTo>
                        <a:pt x="11" y="503"/>
                        <a:pt x="117" y="379"/>
                        <a:pt x="295" y="254"/>
                      </a:cubicBezTo>
                      <a:cubicBezTo>
                        <a:pt x="460" y="138"/>
                        <a:pt x="719" y="0"/>
                        <a:pt x="1018" y="0"/>
                      </a:cubicBezTo>
                      <a:cubicBezTo>
                        <a:pt x="1316" y="0"/>
                        <a:pt x="1574" y="138"/>
                        <a:pt x="1737" y="254"/>
                      </a:cubicBezTo>
                      <a:cubicBezTo>
                        <a:pt x="1914" y="379"/>
                        <a:pt x="2019" y="503"/>
                        <a:pt x="2023" y="508"/>
                      </a:cubicBezTo>
                      <a:cubicBezTo>
                        <a:pt x="2030" y="516"/>
                        <a:pt x="2030" y="528"/>
                        <a:pt x="2023" y="536"/>
                      </a:cubicBezTo>
                      <a:cubicBezTo>
                        <a:pt x="2019" y="541"/>
                        <a:pt x="1912" y="665"/>
                        <a:pt x="1735" y="790"/>
                      </a:cubicBezTo>
                      <a:cubicBezTo>
                        <a:pt x="1570" y="906"/>
                        <a:pt x="1311" y="1044"/>
                        <a:pt x="1012" y="1044"/>
                      </a:cubicBezTo>
                      <a:close/>
                      <a:moveTo>
                        <a:pt x="53" y="522"/>
                      </a:moveTo>
                      <a:cubicBezTo>
                        <a:pt x="86" y="558"/>
                        <a:pt x="181" y="657"/>
                        <a:pt x="319" y="755"/>
                      </a:cubicBezTo>
                      <a:cubicBezTo>
                        <a:pt x="477" y="867"/>
                        <a:pt x="726" y="1000"/>
                        <a:pt x="1012" y="1000"/>
                      </a:cubicBezTo>
                      <a:cubicBezTo>
                        <a:pt x="1299" y="1000"/>
                        <a:pt x="1550" y="866"/>
                        <a:pt x="1709" y="754"/>
                      </a:cubicBezTo>
                      <a:cubicBezTo>
                        <a:pt x="1848" y="656"/>
                        <a:pt x="1944" y="558"/>
                        <a:pt x="1977" y="522"/>
                      </a:cubicBezTo>
                      <a:cubicBezTo>
                        <a:pt x="1944" y="486"/>
                        <a:pt x="1849" y="387"/>
                        <a:pt x="1711" y="289"/>
                      </a:cubicBezTo>
                      <a:cubicBezTo>
                        <a:pt x="1553" y="177"/>
                        <a:pt x="1304" y="44"/>
                        <a:pt x="1018" y="44"/>
                      </a:cubicBezTo>
                      <a:cubicBezTo>
                        <a:pt x="731" y="44"/>
                        <a:pt x="480" y="178"/>
                        <a:pt x="321" y="290"/>
                      </a:cubicBezTo>
                      <a:cubicBezTo>
                        <a:pt x="182" y="388"/>
                        <a:pt x="86" y="486"/>
                        <a:pt x="53" y="522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50" name="ee4pHeader1"/>
            <p:cNvSpPr txBox="1"/>
            <p:nvPr/>
          </p:nvSpPr>
          <p:spPr>
            <a:xfrm>
              <a:off x="5675086" y="2277668"/>
              <a:ext cx="5882930" cy="80021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lvl="3"/>
              <a:r>
                <a:rPr lang="en-US" sz="2000" dirty="0">
                  <a:solidFill>
                    <a:srgbClr val="B61872">
                      <a:lumMod val="100000"/>
                    </a:srgbClr>
                  </a:solidFill>
                  <a:latin typeface="Trebuchet MS" panose="020B0603020202020204" pitchFamily="34" charset="0"/>
                </a:rPr>
                <a:t>Control</a:t>
              </a:r>
            </a:p>
            <a:p>
              <a:pPr marL="0" lvl="3"/>
              <a:r>
                <a:rPr lang="en-US" sz="1600" dirty="0">
                  <a:latin typeface="Trebuchet MS" panose="020B0603020202020204" pitchFamily="34" charset="0"/>
                </a:rPr>
                <a:t>Ensure adequate compliance of general procurement policies set by FEC</a:t>
              </a:r>
              <a:endParaRPr lang="en-US" sz="1600" dirty="0">
                <a:solidFill>
                  <a:srgbClr val="B61872">
                    <a:lumMod val="100000"/>
                  </a:srgbClr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288359" y="3617786"/>
            <a:ext cx="7269657" cy="1080341"/>
            <a:chOff x="4288359" y="3760781"/>
            <a:chExt cx="7269657" cy="1080341"/>
          </a:xfrm>
        </p:grpSpPr>
        <p:grpSp>
          <p:nvGrpSpPr>
            <p:cNvPr id="41" name="Group 40"/>
            <p:cNvGrpSpPr>
              <a:grpSpLocks noChangeAspect="1"/>
            </p:cNvGrpSpPr>
            <p:nvPr/>
          </p:nvGrpSpPr>
          <p:grpSpPr>
            <a:xfrm>
              <a:off x="4288359" y="3760781"/>
              <a:ext cx="1080341" cy="1080341"/>
              <a:chOff x="4234656" y="2600325"/>
              <a:chExt cx="1657350" cy="1657350"/>
            </a:xfrm>
          </p:grpSpPr>
          <p:sp>
            <p:nvSpPr>
              <p:cNvPr id="4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4234656" y="2600325"/>
                <a:ext cx="1657350" cy="1657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4404519" y="2772126"/>
                <a:ext cx="1316038" cy="1315687"/>
                <a:chOff x="4404519" y="2772126"/>
                <a:chExt cx="1316038" cy="1315687"/>
              </a:xfrm>
            </p:grpSpPr>
            <p:sp>
              <p:nvSpPr>
                <p:cNvPr id="44" name="Freeform 43"/>
                <p:cNvSpPr>
                  <a:spLocks/>
                </p:cNvSpPr>
                <p:nvPr/>
              </p:nvSpPr>
              <p:spPr bwMode="auto">
                <a:xfrm>
                  <a:off x="4404519" y="2772126"/>
                  <a:ext cx="1316038" cy="1082324"/>
                </a:xfrm>
                <a:custGeom>
                  <a:avLst/>
                  <a:gdLst>
                    <a:gd name="connsiteX0" fmla="*/ 589643 w 1316038"/>
                    <a:gd name="connsiteY0" fmla="*/ 764824 h 1082324"/>
                    <a:gd name="connsiteX1" fmla="*/ 631400 w 1316038"/>
                    <a:gd name="connsiteY1" fmla="*/ 875697 h 1082324"/>
                    <a:gd name="connsiteX2" fmla="*/ 635000 w 1316038"/>
                    <a:gd name="connsiteY2" fmla="*/ 880737 h 1082324"/>
                    <a:gd name="connsiteX3" fmla="*/ 554365 w 1316038"/>
                    <a:gd name="connsiteY3" fmla="*/ 968571 h 1082324"/>
                    <a:gd name="connsiteX4" fmla="*/ 233986 w 1316038"/>
                    <a:gd name="connsiteY4" fmla="*/ 1082324 h 1082324"/>
                    <a:gd name="connsiteX5" fmla="*/ 47517 w 1316038"/>
                    <a:gd name="connsiteY5" fmla="*/ 1082324 h 1082324"/>
                    <a:gd name="connsiteX6" fmla="*/ 0 w 1316038"/>
                    <a:gd name="connsiteY6" fmla="*/ 1033367 h 1082324"/>
                    <a:gd name="connsiteX7" fmla="*/ 47517 w 1316038"/>
                    <a:gd name="connsiteY7" fmla="*/ 984410 h 1082324"/>
                    <a:gd name="connsiteX8" fmla="*/ 233986 w 1316038"/>
                    <a:gd name="connsiteY8" fmla="*/ 984410 h 1082324"/>
                    <a:gd name="connsiteX9" fmla="*/ 494609 w 1316038"/>
                    <a:gd name="connsiteY9" fmla="*/ 892256 h 1082324"/>
                    <a:gd name="connsiteX10" fmla="*/ 589643 w 1316038"/>
                    <a:gd name="connsiteY10" fmla="*/ 764824 h 1082324"/>
                    <a:gd name="connsiteX11" fmla="*/ 1032056 w 1316038"/>
                    <a:gd name="connsiteY11" fmla="*/ 11 h 1082324"/>
                    <a:gd name="connsiteX12" fmla="*/ 1065767 w 1316038"/>
                    <a:gd name="connsiteY12" fmla="*/ 13586 h 1082324"/>
                    <a:gd name="connsiteX13" fmla="*/ 1301655 w 1316038"/>
                    <a:gd name="connsiteY13" fmla="*/ 245172 h 1082324"/>
                    <a:gd name="connsiteX14" fmla="*/ 1301655 w 1316038"/>
                    <a:gd name="connsiteY14" fmla="*/ 245891 h 1082324"/>
                    <a:gd name="connsiteX15" fmla="*/ 1303812 w 1316038"/>
                    <a:gd name="connsiteY15" fmla="*/ 248049 h 1082324"/>
                    <a:gd name="connsiteX16" fmla="*/ 1305251 w 1316038"/>
                    <a:gd name="connsiteY16" fmla="*/ 249487 h 1082324"/>
                    <a:gd name="connsiteX17" fmla="*/ 1306689 w 1316038"/>
                    <a:gd name="connsiteY17" fmla="*/ 251645 h 1082324"/>
                    <a:gd name="connsiteX18" fmla="*/ 1307408 w 1316038"/>
                    <a:gd name="connsiteY18" fmla="*/ 253083 h 1082324"/>
                    <a:gd name="connsiteX19" fmla="*/ 1309566 w 1316038"/>
                    <a:gd name="connsiteY19" fmla="*/ 256680 h 1082324"/>
                    <a:gd name="connsiteX20" fmla="*/ 1310285 w 1316038"/>
                    <a:gd name="connsiteY20" fmla="*/ 257399 h 1082324"/>
                    <a:gd name="connsiteX21" fmla="*/ 1316038 w 1316038"/>
                    <a:gd name="connsiteY21" fmla="*/ 281133 h 1082324"/>
                    <a:gd name="connsiteX22" fmla="*/ 1310285 w 1316038"/>
                    <a:gd name="connsiteY22" fmla="*/ 304147 h 1082324"/>
                    <a:gd name="connsiteX23" fmla="*/ 1309566 w 1316038"/>
                    <a:gd name="connsiteY23" fmla="*/ 305586 h 1082324"/>
                    <a:gd name="connsiteX24" fmla="*/ 1307408 w 1316038"/>
                    <a:gd name="connsiteY24" fmla="*/ 308463 h 1082324"/>
                    <a:gd name="connsiteX25" fmla="*/ 1306689 w 1316038"/>
                    <a:gd name="connsiteY25" fmla="*/ 309901 h 1082324"/>
                    <a:gd name="connsiteX26" fmla="*/ 1305251 w 1316038"/>
                    <a:gd name="connsiteY26" fmla="*/ 312059 h 1082324"/>
                    <a:gd name="connsiteX27" fmla="*/ 1303812 w 1316038"/>
                    <a:gd name="connsiteY27" fmla="*/ 313497 h 1082324"/>
                    <a:gd name="connsiteX28" fmla="*/ 1301655 w 1316038"/>
                    <a:gd name="connsiteY28" fmla="*/ 315655 h 1082324"/>
                    <a:gd name="connsiteX29" fmla="*/ 1301655 w 1316038"/>
                    <a:gd name="connsiteY29" fmla="*/ 316374 h 1082324"/>
                    <a:gd name="connsiteX30" fmla="*/ 1065767 w 1316038"/>
                    <a:gd name="connsiteY30" fmla="*/ 547960 h 1082324"/>
                    <a:gd name="connsiteX31" fmla="*/ 1032685 w 1316038"/>
                    <a:gd name="connsiteY31" fmla="*/ 561625 h 1082324"/>
                    <a:gd name="connsiteX32" fmla="*/ 998884 w 1316038"/>
                    <a:gd name="connsiteY32" fmla="*/ 546521 h 1082324"/>
                    <a:gd name="connsiteX33" fmla="*/ 1000323 w 1316038"/>
                    <a:gd name="connsiteY33" fmla="*/ 477477 h 1082324"/>
                    <a:gd name="connsiteX34" fmla="*/ 1150629 w 1316038"/>
                    <a:gd name="connsiteY34" fmla="*/ 330039 h 1082324"/>
                    <a:gd name="connsiteX35" fmla="*/ 1067205 w 1316038"/>
                    <a:gd name="connsiteY35" fmla="*/ 330039 h 1082324"/>
                    <a:gd name="connsiteX36" fmla="*/ 852174 w 1316038"/>
                    <a:gd name="connsiteY36" fmla="*/ 391172 h 1082324"/>
                    <a:gd name="connsiteX37" fmla="*/ 722723 w 1316038"/>
                    <a:gd name="connsiteY37" fmla="*/ 547241 h 1082324"/>
                    <a:gd name="connsiteX38" fmla="*/ 673100 w 1316038"/>
                    <a:gd name="connsiteY38" fmla="*/ 432886 h 1082324"/>
                    <a:gd name="connsiteX39" fmla="*/ 801832 w 1316038"/>
                    <a:gd name="connsiteY39" fmla="*/ 307743 h 1082324"/>
                    <a:gd name="connsiteX40" fmla="*/ 1067205 w 1316038"/>
                    <a:gd name="connsiteY40" fmla="*/ 232226 h 1082324"/>
                    <a:gd name="connsiteX41" fmla="*/ 1150629 w 1316038"/>
                    <a:gd name="connsiteY41" fmla="*/ 232226 h 1082324"/>
                    <a:gd name="connsiteX42" fmla="*/ 1000323 w 1316038"/>
                    <a:gd name="connsiteY42" fmla="*/ 84069 h 1082324"/>
                    <a:gd name="connsiteX43" fmla="*/ 998884 w 1316038"/>
                    <a:gd name="connsiteY43" fmla="*/ 15025 h 1082324"/>
                    <a:gd name="connsiteX44" fmla="*/ 1032056 w 1316038"/>
                    <a:gd name="connsiteY44" fmla="*/ 11 h 10823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316038" h="1082324">
                      <a:moveTo>
                        <a:pt x="589643" y="764824"/>
                      </a:moveTo>
                      <a:cubicBezTo>
                        <a:pt x="598283" y="803702"/>
                        <a:pt x="611962" y="841139"/>
                        <a:pt x="631400" y="875697"/>
                      </a:cubicBezTo>
                      <a:cubicBezTo>
                        <a:pt x="632840" y="877137"/>
                        <a:pt x="633560" y="879297"/>
                        <a:pt x="635000" y="880737"/>
                      </a:cubicBezTo>
                      <a:cubicBezTo>
                        <a:pt x="612682" y="913135"/>
                        <a:pt x="586043" y="941933"/>
                        <a:pt x="554365" y="968571"/>
                      </a:cubicBezTo>
                      <a:cubicBezTo>
                        <a:pt x="465811" y="1042007"/>
                        <a:pt x="352058" y="1082324"/>
                        <a:pt x="233986" y="1082324"/>
                      </a:cubicBezTo>
                      <a:cubicBezTo>
                        <a:pt x="233986" y="1082324"/>
                        <a:pt x="233986" y="1082324"/>
                        <a:pt x="47517" y="1082324"/>
                      </a:cubicBezTo>
                      <a:cubicBezTo>
                        <a:pt x="21599" y="1082324"/>
                        <a:pt x="0" y="1060726"/>
                        <a:pt x="0" y="1033367"/>
                      </a:cubicBezTo>
                      <a:cubicBezTo>
                        <a:pt x="0" y="1006729"/>
                        <a:pt x="21599" y="984410"/>
                        <a:pt x="47517" y="984410"/>
                      </a:cubicBezTo>
                      <a:cubicBezTo>
                        <a:pt x="47517" y="984410"/>
                        <a:pt x="47517" y="984410"/>
                        <a:pt x="233986" y="984410"/>
                      </a:cubicBezTo>
                      <a:cubicBezTo>
                        <a:pt x="330459" y="984410"/>
                        <a:pt x="423334" y="952012"/>
                        <a:pt x="494609" y="892256"/>
                      </a:cubicBezTo>
                      <a:cubicBezTo>
                        <a:pt x="539246" y="855538"/>
                        <a:pt x="570924" y="813061"/>
                        <a:pt x="589643" y="764824"/>
                      </a:cubicBezTo>
                      <a:close/>
                      <a:moveTo>
                        <a:pt x="1032056" y="11"/>
                      </a:moveTo>
                      <a:cubicBezTo>
                        <a:pt x="1044192" y="-258"/>
                        <a:pt x="1056418" y="4237"/>
                        <a:pt x="1065767" y="13586"/>
                      </a:cubicBezTo>
                      <a:cubicBezTo>
                        <a:pt x="1065767" y="13586"/>
                        <a:pt x="1065767" y="13586"/>
                        <a:pt x="1301655" y="245172"/>
                      </a:cubicBezTo>
                      <a:cubicBezTo>
                        <a:pt x="1301655" y="245891"/>
                        <a:pt x="1301655" y="245891"/>
                        <a:pt x="1301655" y="245891"/>
                      </a:cubicBezTo>
                      <a:cubicBezTo>
                        <a:pt x="1302374" y="246611"/>
                        <a:pt x="1303093" y="247330"/>
                        <a:pt x="1303812" y="248049"/>
                      </a:cubicBezTo>
                      <a:cubicBezTo>
                        <a:pt x="1303812" y="248768"/>
                        <a:pt x="1304531" y="248768"/>
                        <a:pt x="1305251" y="249487"/>
                      </a:cubicBezTo>
                      <a:cubicBezTo>
                        <a:pt x="1305251" y="250207"/>
                        <a:pt x="1305970" y="250926"/>
                        <a:pt x="1306689" y="251645"/>
                      </a:cubicBezTo>
                      <a:cubicBezTo>
                        <a:pt x="1306689" y="252364"/>
                        <a:pt x="1307408" y="253083"/>
                        <a:pt x="1307408" y="253083"/>
                      </a:cubicBezTo>
                      <a:cubicBezTo>
                        <a:pt x="1308127" y="254522"/>
                        <a:pt x="1308847" y="255241"/>
                        <a:pt x="1309566" y="256680"/>
                      </a:cubicBezTo>
                      <a:cubicBezTo>
                        <a:pt x="1309566" y="256680"/>
                        <a:pt x="1310285" y="256680"/>
                        <a:pt x="1310285" y="257399"/>
                      </a:cubicBezTo>
                      <a:cubicBezTo>
                        <a:pt x="1313881" y="264591"/>
                        <a:pt x="1316038" y="272502"/>
                        <a:pt x="1316038" y="281133"/>
                      </a:cubicBezTo>
                      <a:cubicBezTo>
                        <a:pt x="1316038" y="289763"/>
                        <a:pt x="1313881" y="297675"/>
                        <a:pt x="1310285" y="304147"/>
                      </a:cubicBezTo>
                      <a:cubicBezTo>
                        <a:pt x="1310285" y="304867"/>
                        <a:pt x="1309566" y="304867"/>
                        <a:pt x="1309566" y="305586"/>
                      </a:cubicBezTo>
                      <a:cubicBezTo>
                        <a:pt x="1308847" y="306305"/>
                        <a:pt x="1308127" y="307743"/>
                        <a:pt x="1307408" y="308463"/>
                      </a:cubicBezTo>
                      <a:cubicBezTo>
                        <a:pt x="1307408" y="309182"/>
                        <a:pt x="1306689" y="309182"/>
                        <a:pt x="1306689" y="309901"/>
                      </a:cubicBezTo>
                      <a:cubicBezTo>
                        <a:pt x="1305970" y="310620"/>
                        <a:pt x="1305251" y="311340"/>
                        <a:pt x="1305251" y="312059"/>
                      </a:cubicBezTo>
                      <a:cubicBezTo>
                        <a:pt x="1304531" y="312778"/>
                        <a:pt x="1303812" y="313497"/>
                        <a:pt x="1303812" y="313497"/>
                      </a:cubicBezTo>
                      <a:cubicBezTo>
                        <a:pt x="1303093" y="314216"/>
                        <a:pt x="1302374" y="314936"/>
                        <a:pt x="1301655" y="315655"/>
                      </a:cubicBezTo>
                      <a:cubicBezTo>
                        <a:pt x="1301655" y="315655"/>
                        <a:pt x="1301655" y="316374"/>
                        <a:pt x="1301655" y="316374"/>
                      </a:cubicBezTo>
                      <a:cubicBezTo>
                        <a:pt x="1301655" y="316374"/>
                        <a:pt x="1301655" y="316374"/>
                        <a:pt x="1065767" y="547960"/>
                      </a:cubicBezTo>
                      <a:cubicBezTo>
                        <a:pt x="1056418" y="557310"/>
                        <a:pt x="1044911" y="561625"/>
                        <a:pt x="1032685" y="561625"/>
                      </a:cubicBezTo>
                      <a:cubicBezTo>
                        <a:pt x="1020459" y="561625"/>
                        <a:pt x="1008233" y="556590"/>
                        <a:pt x="998884" y="546521"/>
                      </a:cubicBezTo>
                      <a:cubicBezTo>
                        <a:pt x="980905" y="527103"/>
                        <a:pt x="981624" y="496177"/>
                        <a:pt x="1000323" y="477477"/>
                      </a:cubicBezTo>
                      <a:cubicBezTo>
                        <a:pt x="1000323" y="477477"/>
                        <a:pt x="1000323" y="477477"/>
                        <a:pt x="1150629" y="330039"/>
                      </a:cubicBezTo>
                      <a:cubicBezTo>
                        <a:pt x="1150629" y="330039"/>
                        <a:pt x="1150629" y="330039"/>
                        <a:pt x="1067205" y="330039"/>
                      </a:cubicBezTo>
                      <a:cubicBezTo>
                        <a:pt x="989535" y="330039"/>
                        <a:pt x="914741" y="350896"/>
                        <a:pt x="852174" y="391172"/>
                      </a:cubicBezTo>
                      <a:cubicBezTo>
                        <a:pt x="787448" y="432167"/>
                        <a:pt x="744298" y="483950"/>
                        <a:pt x="722723" y="547241"/>
                      </a:cubicBezTo>
                      <a:cubicBezTo>
                        <a:pt x="711935" y="506246"/>
                        <a:pt x="695395" y="468127"/>
                        <a:pt x="673100" y="432886"/>
                      </a:cubicBezTo>
                      <a:cubicBezTo>
                        <a:pt x="704744" y="384699"/>
                        <a:pt x="747894" y="342266"/>
                        <a:pt x="801832" y="307743"/>
                      </a:cubicBezTo>
                      <a:cubicBezTo>
                        <a:pt x="880221" y="258118"/>
                        <a:pt x="971556" y="232226"/>
                        <a:pt x="1067205" y="232226"/>
                      </a:cubicBezTo>
                      <a:cubicBezTo>
                        <a:pt x="1067205" y="232226"/>
                        <a:pt x="1067205" y="232226"/>
                        <a:pt x="1150629" y="232226"/>
                      </a:cubicBezTo>
                      <a:cubicBezTo>
                        <a:pt x="1150629" y="232226"/>
                        <a:pt x="1150629" y="232226"/>
                        <a:pt x="1000323" y="84069"/>
                      </a:cubicBezTo>
                      <a:cubicBezTo>
                        <a:pt x="981624" y="65370"/>
                        <a:pt x="980905" y="34443"/>
                        <a:pt x="998884" y="15025"/>
                      </a:cubicBezTo>
                      <a:cubicBezTo>
                        <a:pt x="1007874" y="5316"/>
                        <a:pt x="1019920" y="281"/>
                        <a:pt x="1032056" y="11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7"/>
                <p:cNvSpPr>
                  <a:spLocks/>
                </p:cNvSpPr>
                <p:nvPr/>
              </p:nvSpPr>
              <p:spPr bwMode="auto">
                <a:xfrm>
                  <a:off x="4404519" y="3005138"/>
                  <a:ext cx="1316038" cy="1082675"/>
                </a:xfrm>
                <a:custGeom>
                  <a:avLst/>
                  <a:gdLst>
                    <a:gd name="T0" fmla="*/ 1820 w 1828"/>
                    <a:gd name="T1" fmla="*/ 1082 h 1505"/>
                    <a:gd name="T2" fmla="*/ 1819 w 1828"/>
                    <a:gd name="T3" fmla="*/ 1080 h 1505"/>
                    <a:gd name="T4" fmla="*/ 1816 w 1828"/>
                    <a:gd name="T5" fmla="*/ 1076 h 1505"/>
                    <a:gd name="T6" fmla="*/ 1815 w 1828"/>
                    <a:gd name="T7" fmla="*/ 1074 h 1505"/>
                    <a:gd name="T8" fmla="*/ 1813 w 1828"/>
                    <a:gd name="T9" fmla="*/ 1071 h 1505"/>
                    <a:gd name="T10" fmla="*/ 1811 w 1828"/>
                    <a:gd name="T11" fmla="*/ 1069 h 1505"/>
                    <a:gd name="T12" fmla="*/ 1808 w 1828"/>
                    <a:gd name="T13" fmla="*/ 1066 h 1505"/>
                    <a:gd name="T14" fmla="*/ 1808 w 1828"/>
                    <a:gd name="T15" fmla="*/ 1065 h 1505"/>
                    <a:gd name="T16" fmla="*/ 1480 w 1828"/>
                    <a:gd name="T17" fmla="*/ 743 h 1505"/>
                    <a:gd name="T18" fmla="*/ 1434 w 1828"/>
                    <a:gd name="T19" fmla="*/ 724 h 1505"/>
                    <a:gd name="T20" fmla="*/ 1387 w 1828"/>
                    <a:gd name="T21" fmla="*/ 745 h 1505"/>
                    <a:gd name="T22" fmla="*/ 1389 w 1828"/>
                    <a:gd name="T23" fmla="*/ 841 h 1505"/>
                    <a:gd name="T24" fmla="*/ 1598 w 1828"/>
                    <a:gd name="T25" fmla="*/ 1046 h 1505"/>
                    <a:gd name="T26" fmla="*/ 1482 w 1828"/>
                    <a:gd name="T27" fmla="*/ 1046 h 1505"/>
                    <a:gd name="T28" fmla="*/ 1183 w 1828"/>
                    <a:gd name="T29" fmla="*/ 961 h 1505"/>
                    <a:gd name="T30" fmla="*/ 980 w 1828"/>
                    <a:gd name="T31" fmla="*/ 602 h 1505"/>
                    <a:gd name="T32" fmla="*/ 980 w 1828"/>
                    <a:gd name="T33" fmla="*/ 591 h 1505"/>
                    <a:gd name="T34" fmla="*/ 908 w 1828"/>
                    <a:gd name="T35" fmla="*/ 322 h 1505"/>
                    <a:gd name="T36" fmla="*/ 770 w 1828"/>
                    <a:gd name="T37" fmla="*/ 158 h 1505"/>
                    <a:gd name="T38" fmla="*/ 325 w 1828"/>
                    <a:gd name="T39" fmla="*/ 0 h 1505"/>
                    <a:gd name="T40" fmla="*/ 66 w 1828"/>
                    <a:gd name="T41" fmla="*/ 0 h 1505"/>
                    <a:gd name="T42" fmla="*/ 0 w 1828"/>
                    <a:gd name="T43" fmla="*/ 68 h 1505"/>
                    <a:gd name="T44" fmla="*/ 66 w 1828"/>
                    <a:gd name="T45" fmla="*/ 136 h 1505"/>
                    <a:gd name="T46" fmla="*/ 325 w 1828"/>
                    <a:gd name="T47" fmla="*/ 136 h 1505"/>
                    <a:gd name="T48" fmla="*/ 687 w 1828"/>
                    <a:gd name="T49" fmla="*/ 264 h 1505"/>
                    <a:gd name="T50" fmla="*/ 848 w 1828"/>
                    <a:gd name="T51" fmla="*/ 591 h 1505"/>
                    <a:gd name="T52" fmla="*/ 848 w 1828"/>
                    <a:gd name="T53" fmla="*/ 602 h 1505"/>
                    <a:gd name="T54" fmla="*/ 908 w 1828"/>
                    <a:gd name="T55" fmla="*/ 860 h 1505"/>
                    <a:gd name="T56" fmla="*/ 1113 w 1828"/>
                    <a:gd name="T57" fmla="*/ 1077 h 1505"/>
                    <a:gd name="T58" fmla="*/ 1482 w 1828"/>
                    <a:gd name="T59" fmla="*/ 1182 h 1505"/>
                    <a:gd name="T60" fmla="*/ 1598 w 1828"/>
                    <a:gd name="T61" fmla="*/ 1182 h 1505"/>
                    <a:gd name="T62" fmla="*/ 1389 w 1828"/>
                    <a:gd name="T63" fmla="*/ 1388 h 1505"/>
                    <a:gd name="T64" fmla="*/ 1387 w 1828"/>
                    <a:gd name="T65" fmla="*/ 1484 h 1505"/>
                    <a:gd name="T66" fmla="*/ 1434 w 1828"/>
                    <a:gd name="T67" fmla="*/ 1505 h 1505"/>
                    <a:gd name="T68" fmla="*/ 1480 w 1828"/>
                    <a:gd name="T69" fmla="*/ 1486 h 1505"/>
                    <a:gd name="T70" fmla="*/ 1808 w 1828"/>
                    <a:gd name="T71" fmla="*/ 1164 h 1505"/>
                    <a:gd name="T72" fmla="*/ 1808 w 1828"/>
                    <a:gd name="T73" fmla="*/ 1163 h 1505"/>
                    <a:gd name="T74" fmla="*/ 1811 w 1828"/>
                    <a:gd name="T75" fmla="*/ 1160 h 1505"/>
                    <a:gd name="T76" fmla="*/ 1813 w 1828"/>
                    <a:gd name="T77" fmla="*/ 1158 h 1505"/>
                    <a:gd name="T78" fmla="*/ 1815 w 1828"/>
                    <a:gd name="T79" fmla="*/ 1155 h 1505"/>
                    <a:gd name="T80" fmla="*/ 1816 w 1828"/>
                    <a:gd name="T81" fmla="*/ 1153 h 1505"/>
                    <a:gd name="T82" fmla="*/ 1819 w 1828"/>
                    <a:gd name="T83" fmla="*/ 1148 h 1505"/>
                    <a:gd name="T84" fmla="*/ 1820 w 1828"/>
                    <a:gd name="T85" fmla="*/ 1147 h 1505"/>
                    <a:gd name="T86" fmla="*/ 1828 w 1828"/>
                    <a:gd name="T87" fmla="*/ 1114 h 1505"/>
                    <a:gd name="T88" fmla="*/ 1820 w 1828"/>
                    <a:gd name="T89" fmla="*/ 1082 h 1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828" h="1505">
                      <a:moveTo>
                        <a:pt x="1820" y="1082"/>
                      </a:moveTo>
                      <a:cubicBezTo>
                        <a:pt x="1820" y="1081"/>
                        <a:pt x="1819" y="1081"/>
                        <a:pt x="1819" y="1080"/>
                      </a:cubicBezTo>
                      <a:cubicBezTo>
                        <a:pt x="1818" y="1079"/>
                        <a:pt x="1817" y="1077"/>
                        <a:pt x="1816" y="1076"/>
                      </a:cubicBezTo>
                      <a:cubicBezTo>
                        <a:pt x="1816" y="1075"/>
                        <a:pt x="1815" y="1075"/>
                        <a:pt x="1815" y="1074"/>
                      </a:cubicBezTo>
                      <a:cubicBezTo>
                        <a:pt x="1814" y="1073"/>
                        <a:pt x="1813" y="1072"/>
                        <a:pt x="1813" y="1071"/>
                      </a:cubicBezTo>
                      <a:cubicBezTo>
                        <a:pt x="1812" y="1070"/>
                        <a:pt x="1811" y="1069"/>
                        <a:pt x="1811" y="1069"/>
                      </a:cubicBezTo>
                      <a:cubicBezTo>
                        <a:pt x="1810" y="1068"/>
                        <a:pt x="1809" y="1067"/>
                        <a:pt x="1808" y="1066"/>
                      </a:cubicBezTo>
                      <a:cubicBezTo>
                        <a:pt x="1808" y="1066"/>
                        <a:pt x="1808" y="1065"/>
                        <a:pt x="1808" y="1065"/>
                      </a:cubicBezTo>
                      <a:cubicBezTo>
                        <a:pt x="1480" y="743"/>
                        <a:pt x="1480" y="743"/>
                        <a:pt x="1480" y="743"/>
                      </a:cubicBezTo>
                      <a:cubicBezTo>
                        <a:pt x="1467" y="730"/>
                        <a:pt x="1451" y="724"/>
                        <a:pt x="1434" y="724"/>
                      </a:cubicBezTo>
                      <a:cubicBezTo>
                        <a:pt x="1417" y="724"/>
                        <a:pt x="1400" y="731"/>
                        <a:pt x="1387" y="745"/>
                      </a:cubicBezTo>
                      <a:cubicBezTo>
                        <a:pt x="1362" y="772"/>
                        <a:pt x="1363" y="815"/>
                        <a:pt x="1389" y="841"/>
                      </a:cubicBezTo>
                      <a:cubicBezTo>
                        <a:pt x="1598" y="1046"/>
                        <a:pt x="1598" y="1046"/>
                        <a:pt x="1598" y="1046"/>
                      </a:cubicBezTo>
                      <a:cubicBezTo>
                        <a:pt x="1482" y="1046"/>
                        <a:pt x="1482" y="1046"/>
                        <a:pt x="1482" y="1046"/>
                      </a:cubicBezTo>
                      <a:cubicBezTo>
                        <a:pt x="1374" y="1046"/>
                        <a:pt x="1270" y="1017"/>
                        <a:pt x="1183" y="961"/>
                      </a:cubicBezTo>
                      <a:cubicBezTo>
                        <a:pt x="1048" y="876"/>
                        <a:pt x="980" y="755"/>
                        <a:pt x="980" y="602"/>
                      </a:cubicBezTo>
                      <a:cubicBezTo>
                        <a:pt x="980" y="598"/>
                        <a:pt x="980" y="595"/>
                        <a:pt x="980" y="591"/>
                      </a:cubicBezTo>
                      <a:cubicBezTo>
                        <a:pt x="978" y="493"/>
                        <a:pt x="954" y="403"/>
                        <a:pt x="908" y="322"/>
                      </a:cubicBezTo>
                      <a:cubicBezTo>
                        <a:pt x="874" y="261"/>
                        <a:pt x="828" y="206"/>
                        <a:pt x="770" y="158"/>
                      </a:cubicBezTo>
                      <a:cubicBezTo>
                        <a:pt x="647" y="56"/>
                        <a:pt x="489" y="0"/>
                        <a:pt x="325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30" y="0"/>
                        <a:pt x="0" y="30"/>
                        <a:pt x="0" y="68"/>
                      </a:cubicBezTo>
                      <a:cubicBezTo>
                        <a:pt x="0" y="105"/>
                        <a:pt x="30" y="136"/>
                        <a:pt x="66" y="136"/>
                      </a:cubicBezTo>
                      <a:cubicBezTo>
                        <a:pt x="325" y="136"/>
                        <a:pt x="325" y="136"/>
                        <a:pt x="325" y="136"/>
                      </a:cubicBezTo>
                      <a:cubicBezTo>
                        <a:pt x="459" y="136"/>
                        <a:pt x="588" y="181"/>
                        <a:pt x="687" y="264"/>
                      </a:cubicBezTo>
                      <a:cubicBezTo>
                        <a:pt x="791" y="350"/>
                        <a:pt x="845" y="460"/>
                        <a:pt x="848" y="591"/>
                      </a:cubicBezTo>
                      <a:cubicBezTo>
                        <a:pt x="848" y="595"/>
                        <a:pt x="848" y="598"/>
                        <a:pt x="848" y="602"/>
                      </a:cubicBezTo>
                      <a:cubicBezTo>
                        <a:pt x="848" y="697"/>
                        <a:pt x="869" y="783"/>
                        <a:pt x="908" y="860"/>
                      </a:cubicBezTo>
                      <a:cubicBezTo>
                        <a:pt x="953" y="945"/>
                        <a:pt x="1022" y="1019"/>
                        <a:pt x="1113" y="1077"/>
                      </a:cubicBezTo>
                      <a:cubicBezTo>
                        <a:pt x="1222" y="1146"/>
                        <a:pt x="1349" y="1182"/>
                        <a:pt x="1482" y="1182"/>
                      </a:cubicBezTo>
                      <a:cubicBezTo>
                        <a:pt x="1598" y="1182"/>
                        <a:pt x="1598" y="1182"/>
                        <a:pt x="1598" y="1182"/>
                      </a:cubicBezTo>
                      <a:cubicBezTo>
                        <a:pt x="1389" y="1388"/>
                        <a:pt x="1389" y="1388"/>
                        <a:pt x="1389" y="1388"/>
                      </a:cubicBezTo>
                      <a:cubicBezTo>
                        <a:pt x="1363" y="1414"/>
                        <a:pt x="1362" y="1457"/>
                        <a:pt x="1387" y="1484"/>
                      </a:cubicBezTo>
                      <a:cubicBezTo>
                        <a:pt x="1400" y="1498"/>
                        <a:pt x="1417" y="1505"/>
                        <a:pt x="1434" y="1505"/>
                      </a:cubicBezTo>
                      <a:cubicBezTo>
                        <a:pt x="1451" y="1505"/>
                        <a:pt x="1467" y="1499"/>
                        <a:pt x="1480" y="1486"/>
                      </a:cubicBezTo>
                      <a:cubicBezTo>
                        <a:pt x="1808" y="1164"/>
                        <a:pt x="1808" y="1164"/>
                        <a:pt x="1808" y="1164"/>
                      </a:cubicBezTo>
                      <a:cubicBezTo>
                        <a:pt x="1808" y="1163"/>
                        <a:pt x="1808" y="1163"/>
                        <a:pt x="1808" y="1163"/>
                      </a:cubicBezTo>
                      <a:cubicBezTo>
                        <a:pt x="1809" y="1162"/>
                        <a:pt x="1810" y="1161"/>
                        <a:pt x="1811" y="1160"/>
                      </a:cubicBezTo>
                      <a:cubicBezTo>
                        <a:pt x="1811" y="1159"/>
                        <a:pt x="1812" y="1159"/>
                        <a:pt x="1813" y="1158"/>
                      </a:cubicBezTo>
                      <a:cubicBezTo>
                        <a:pt x="1813" y="1157"/>
                        <a:pt x="1814" y="1156"/>
                        <a:pt x="1815" y="1155"/>
                      </a:cubicBezTo>
                      <a:cubicBezTo>
                        <a:pt x="1815" y="1154"/>
                        <a:pt x="1816" y="1153"/>
                        <a:pt x="1816" y="1153"/>
                      </a:cubicBezTo>
                      <a:cubicBezTo>
                        <a:pt x="1817" y="1151"/>
                        <a:pt x="1818" y="1150"/>
                        <a:pt x="1819" y="1148"/>
                      </a:cubicBezTo>
                      <a:cubicBezTo>
                        <a:pt x="1819" y="1148"/>
                        <a:pt x="1820" y="1148"/>
                        <a:pt x="1820" y="1147"/>
                      </a:cubicBezTo>
                      <a:cubicBezTo>
                        <a:pt x="1825" y="1137"/>
                        <a:pt x="1828" y="1126"/>
                        <a:pt x="1828" y="1114"/>
                      </a:cubicBezTo>
                      <a:cubicBezTo>
                        <a:pt x="1828" y="1102"/>
                        <a:pt x="1825" y="1091"/>
                        <a:pt x="1820" y="1082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51" name="ee4pHeader1"/>
            <p:cNvSpPr txBox="1"/>
            <p:nvPr/>
          </p:nvSpPr>
          <p:spPr>
            <a:xfrm>
              <a:off x="5675086" y="3900842"/>
              <a:ext cx="5882930" cy="80021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lvl="3"/>
              <a:r>
                <a:rPr lang="en-US" sz="2000" dirty="0">
                  <a:solidFill>
                    <a:srgbClr val="B61872">
                      <a:lumMod val="100000"/>
                    </a:srgbClr>
                  </a:solidFill>
                  <a:latin typeface="Trebuchet MS" panose="020B0603020202020204" pitchFamily="34" charset="0"/>
                </a:rPr>
                <a:t>Flexibility</a:t>
              </a:r>
            </a:p>
            <a:p>
              <a:pPr marL="0" lvl="3"/>
              <a:r>
                <a:rPr lang="en-US" sz="1600" dirty="0">
                  <a:latin typeface="Trebuchet MS" panose="020B0603020202020204" pitchFamily="34" charset="0"/>
                </a:rPr>
                <a:t>Align processes and activities to specific needs of user areas and characteristics of category groups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288359" y="5169462"/>
            <a:ext cx="7269657" cy="1080341"/>
            <a:chOff x="4288359" y="5383953"/>
            <a:chExt cx="7269657" cy="1080341"/>
          </a:xfrm>
        </p:grpSpPr>
        <p:grpSp>
          <p:nvGrpSpPr>
            <p:cNvPr id="28" name="Group 27"/>
            <p:cNvGrpSpPr>
              <a:grpSpLocks noChangeAspect="1"/>
            </p:cNvGrpSpPr>
            <p:nvPr/>
          </p:nvGrpSpPr>
          <p:grpSpPr>
            <a:xfrm>
              <a:off x="4288359" y="5383953"/>
              <a:ext cx="1081385" cy="1080341"/>
              <a:chOff x="5273675" y="2606675"/>
              <a:chExt cx="1646238" cy="1644650"/>
            </a:xfrm>
          </p:grpSpPr>
          <p:sp>
            <p:nvSpPr>
              <p:cNvPr id="2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30" name="Group 29"/>
              <p:cNvGrpSpPr/>
              <p:nvPr/>
            </p:nvGrpSpPr>
            <p:grpSpPr>
              <a:xfrm>
                <a:off x="5562600" y="2774950"/>
                <a:ext cx="1109818" cy="1266824"/>
                <a:chOff x="5562600" y="2774950"/>
                <a:chExt cx="1109818" cy="1266824"/>
              </a:xfrm>
            </p:grpSpPr>
            <p:sp>
              <p:nvSpPr>
                <p:cNvPr id="31" name="Freeform 30"/>
                <p:cNvSpPr>
                  <a:spLocks/>
                </p:cNvSpPr>
                <p:nvPr/>
              </p:nvSpPr>
              <p:spPr bwMode="auto">
                <a:xfrm>
                  <a:off x="5562600" y="3103562"/>
                  <a:ext cx="1065213" cy="938212"/>
                </a:xfrm>
                <a:custGeom>
                  <a:avLst/>
                  <a:gdLst>
                    <a:gd name="connsiteX0" fmla="*/ 906333 w 1065213"/>
                    <a:gd name="connsiteY0" fmla="*/ 763587 h 938212"/>
                    <a:gd name="connsiteX1" fmla="*/ 1025135 w 1065213"/>
                    <a:gd name="connsiteY1" fmla="*/ 763587 h 938212"/>
                    <a:gd name="connsiteX2" fmla="*/ 993646 w 1065213"/>
                    <a:gd name="connsiteY2" fmla="*/ 795077 h 938212"/>
                    <a:gd name="connsiteX3" fmla="*/ 922078 w 1065213"/>
                    <a:gd name="connsiteY3" fmla="*/ 795077 h 938212"/>
                    <a:gd name="connsiteX4" fmla="*/ 922078 w 1065213"/>
                    <a:gd name="connsiteY4" fmla="*/ 906722 h 938212"/>
                    <a:gd name="connsiteX5" fmla="*/ 1033723 w 1065213"/>
                    <a:gd name="connsiteY5" fmla="*/ 906722 h 938212"/>
                    <a:gd name="connsiteX6" fmla="*/ 1033723 w 1065213"/>
                    <a:gd name="connsiteY6" fmla="*/ 888830 h 938212"/>
                    <a:gd name="connsiteX7" fmla="*/ 1065213 w 1065213"/>
                    <a:gd name="connsiteY7" fmla="*/ 857341 h 938212"/>
                    <a:gd name="connsiteX8" fmla="*/ 1065213 w 1065213"/>
                    <a:gd name="connsiteY8" fmla="*/ 922467 h 938212"/>
                    <a:gd name="connsiteX9" fmla="*/ 1049468 w 1065213"/>
                    <a:gd name="connsiteY9" fmla="*/ 938212 h 938212"/>
                    <a:gd name="connsiteX10" fmla="*/ 906333 w 1065213"/>
                    <a:gd name="connsiteY10" fmla="*/ 938212 h 938212"/>
                    <a:gd name="connsiteX11" fmla="*/ 890588 w 1065213"/>
                    <a:gd name="connsiteY11" fmla="*/ 922467 h 938212"/>
                    <a:gd name="connsiteX12" fmla="*/ 890588 w 1065213"/>
                    <a:gd name="connsiteY12" fmla="*/ 779332 h 938212"/>
                    <a:gd name="connsiteX13" fmla="*/ 906333 w 1065213"/>
                    <a:gd name="connsiteY13" fmla="*/ 763587 h 938212"/>
                    <a:gd name="connsiteX14" fmla="*/ 461833 w 1065213"/>
                    <a:gd name="connsiteY14" fmla="*/ 763587 h 938212"/>
                    <a:gd name="connsiteX15" fmla="*/ 580635 w 1065213"/>
                    <a:gd name="connsiteY15" fmla="*/ 763587 h 938212"/>
                    <a:gd name="connsiteX16" fmla="*/ 549146 w 1065213"/>
                    <a:gd name="connsiteY16" fmla="*/ 795077 h 938212"/>
                    <a:gd name="connsiteX17" fmla="*/ 477578 w 1065213"/>
                    <a:gd name="connsiteY17" fmla="*/ 795077 h 938212"/>
                    <a:gd name="connsiteX18" fmla="*/ 477578 w 1065213"/>
                    <a:gd name="connsiteY18" fmla="*/ 906722 h 938212"/>
                    <a:gd name="connsiteX19" fmla="*/ 589223 w 1065213"/>
                    <a:gd name="connsiteY19" fmla="*/ 906722 h 938212"/>
                    <a:gd name="connsiteX20" fmla="*/ 589223 w 1065213"/>
                    <a:gd name="connsiteY20" fmla="*/ 888830 h 938212"/>
                    <a:gd name="connsiteX21" fmla="*/ 620713 w 1065213"/>
                    <a:gd name="connsiteY21" fmla="*/ 857341 h 938212"/>
                    <a:gd name="connsiteX22" fmla="*/ 620713 w 1065213"/>
                    <a:gd name="connsiteY22" fmla="*/ 922467 h 938212"/>
                    <a:gd name="connsiteX23" fmla="*/ 604968 w 1065213"/>
                    <a:gd name="connsiteY23" fmla="*/ 938212 h 938212"/>
                    <a:gd name="connsiteX24" fmla="*/ 461833 w 1065213"/>
                    <a:gd name="connsiteY24" fmla="*/ 938212 h 938212"/>
                    <a:gd name="connsiteX25" fmla="*/ 446088 w 1065213"/>
                    <a:gd name="connsiteY25" fmla="*/ 922467 h 938212"/>
                    <a:gd name="connsiteX26" fmla="*/ 446088 w 1065213"/>
                    <a:gd name="connsiteY26" fmla="*/ 779332 h 938212"/>
                    <a:gd name="connsiteX27" fmla="*/ 461833 w 1065213"/>
                    <a:gd name="connsiteY27" fmla="*/ 763587 h 938212"/>
                    <a:gd name="connsiteX28" fmla="*/ 15809 w 1065213"/>
                    <a:gd name="connsiteY28" fmla="*/ 763587 h 938212"/>
                    <a:gd name="connsiteX29" fmla="*/ 135101 w 1065213"/>
                    <a:gd name="connsiteY29" fmla="*/ 763587 h 938212"/>
                    <a:gd name="connsiteX30" fmla="*/ 103481 w 1065213"/>
                    <a:gd name="connsiteY30" fmla="*/ 795077 h 938212"/>
                    <a:gd name="connsiteX31" fmla="*/ 31619 w 1065213"/>
                    <a:gd name="connsiteY31" fmla="*/ 795077 h 938212"/>
                    <a:gd name="connsiteX32" fmla="*/ 31619 w 1065213"/>
                    <a:gd name="connsiteY32" fmla="*/ 906722 h 938212"/>
                    <a:gd name="connsiteX33" fmla="*/ 143724 w 1065213"/>
                    <a:gd name="connsiteY33" fmla="*/ 906722 h 938212"/>
                    <a:gd name="connsiteX34" fmla="*/ 143724 w 1065213"/>
                    <a:gd name="connsiteY34" fmla="*/ 888830 h 938212"/>
                    <a:gd name="connsiteX35" fmla="*/ 174625 w 1065213"/>
                    <a:gd name="connsiteY35" fmla="*/ 857341 h 938212"/>
                    <a:gd name="connsiteX36" fmla="*/ 174625 w 1065213"/>
                    <a:gd name="connsiteY36" fmla="*/ 922467 h 938212"/>
                    <a:gd name="connsiteX37" fmla="*/ 158815 w 1065213"/>
                    <a:gd name="connsiteY37" fmla="*/ 938212 h 938212"/>
                    <a:gd name="connsiteX38" fmla="*/ 15809 w 1065213"/>
                    <a:gd name="connsiteY38" fmla="*/ 938212 h 938212"/>
                    <a:gd name="connsiteX39" fmla="*/ 0 w 1065213"/>
                    <a:gd name="connsiteY39" fmla="*/ 922467 h 938212"/>
                    <a:gd name="connsiteX40" fmla="*/ 0 w 1065213"/>
                    <a:gd name="connsiteY40" fmla="*/ 779332 h 938212"/>
                    <a:gd name="connsiteX41" fmla="*/ 15809 w 1065213"/>
                    <a:gd name="connsiteY41" fmla="*/ 763587 h 938212"/>
                    <a:gd name="connsiteX42" fmla="*/ 514137 w 1065213"/>
                    <a:gd name="connsiteY42" fmla="*/ 466725 h 938212"/>
                    <a:gd name="connsiteX43" fmla="*/ 545599 w 1065213"/>
                    <a:gd name="connsiteY43" fmla="*/ 466725 h 938212"/>
                    <a:gd name="connsiteX44" fmla="*/ 545599 w 1065213"/>
                    <a:gd name="connsiteY44" fmla="*/ 605696 h 938212"/>
                    <a:gd name="connsiteX45" fmla="*/ 979632 w 1065213"/>
                    <a:gd name="connsiteY45" fmla="*/ 605696 h 938212"/>
                    <a:gd name="connsiteX46" fmla="*/ 995363 w 1065213"/>
                    <a:gd name="connsiteY46" fmla="*/ 621374 h 938212"/>
                    <a:gd name="connsiteX47" fmla="*/ 995363 w 1065213"/>
                    <a:gd name="connsiteY47" fmla="*/ 731838 h 938212"/>
                    <a:gd name="connsiteX48" fmla="*/ 963901 w 1065213"/>
                    <a:gd name="connsiteY48" fmla="*/ 731838 h 938212"/>
                    <a:gd name="connsiteX49" fmla="*/ 963901 w 1065213"/>
                    <a:gd name="connsiteY49" fmla="*/ 637053 h 938212"/>
                    <a:gd name="connsiteX50" fmla="*/ 545599 w 1065213"/>
                    <a:gd name="connsiteY50" fmla="*/ 637053 h 938212"/>
                    <a:gd name="connsiteX51" fmla="*/ 545599 w 1065213"/>
                    <a:gd name="connsiteY51" fmla="*/ 731838 h 938212"/>
                    <a:gd name="connsiteX52" fmla="*/ 514137 w 1065213"/>
                    <a:gd name="connsiteY52" fmla="*/ 731838 h 938212"/>
                    <a:gd name="connsiteX53" fmla="*/ 514137 w 1065213"/>
                    <a:gd name="connsiteY53" fmla="*/ 637053 h 938212"/>
                    <a:gd name="connsiteX54" fmla="*/ 96550 w 1065213"/>
                    <a:gd name="connsiteY54" fmla="*/ 637053 h 938212"/>
                    <a:gd name="connsiteX55" fmla="*/ 96550 w 1065213"/>
                    <a:gd name="connsiteY55" fmla="*/ 731838 h 938212"/>
                    <a:gd name="connsiteX56" fmla="*/ 65088 w 1065213"/>
                    <a:gd name="connsiteY56" fmla="*/ 731838 h 938212"/>
                    <a:gd name="connsiteX57" fmla="*/ 65088 w 1065213"/>
                    <a:gd name="connsiteY57" fmla="*/ 621374 h 938212"/>
                    <a:gd name="connsiteX58" fmla="*/ 80819 w 1065213"/>
                    <a:gd name="connsiteY58" fmla="*/ 605696 h 938212"/>
                    <a:gd name="connsiteX59" fmla="*/ 514137 w 1065213"/>
                    <a:gd name="connsiteY59" fmla="*/ 605696 h 938212"/>
                    <a:gd name="connsiteX60" fmla="*/ 514137 w 1065213"/>
                    <a:gd name="connsiteY60" fmla="*/ 466725 h 938212"/>
                    <a:gd name="connsiteX61" fmla="*/ 359172 w 1065213"/>
                    <a:gd name="connsiteY61" fmla="*/ 0 h 938212"/>
                    <a:gd name="connsiteX62" fmla="*/ 373460 w 1065213"/>
                    <a:gd name="connsiteY62" fmla="*/ 19335 h 938212"/>
                    <a:gd name="connsiteX63" fmla="*/ 382746 w 1065213"/>
                    <a:gd name="connsiteY63" fmla="*/ 28644 h 938212"/>
                    <a:gd name="connsiteX64" fmla="*/ 440611 w 1065213"/>
                    <a:gd name="connsiteY64" fmla="*/ 151097 h 938212"/>
                    <a:gd name="connsiteX65" fmla="*/ 460613 w 1065213"/>
                    <a:gd name="connsiteY65" fmla="*/ 166852 h 938212"/>
                    <a:gd name="connsiteX66" fmla="*/ 529908 w 1065213"/>
                    <a:gd name="connsiteY66" fmla="*/ 197644 h 938212"/>
                    <a:gd name="connsiteX67" fmla="*/ 619205 w 1065213"/>
                    <a:gd name="connsiteY67" fmla="*/ 151097 h 938212"/>
                    <a:gd name="connsiteX68" fmla="*/ 677069 w 1065213"/>
                    <a:gd name="connsiteY68" fmla="*/ 28644 h 938212"/>
                    <a:gd name="connsiteX69" fmla="*/ 684213 w 1065213"/>
                    <a:gd name="connsiteY69" fmla="*/ 20051 h 938212"/>
                    <a:gd name="connsiteX70" fmla="*/ 684927 w 1065213"/>
                    <a:gd name="connsiteY70" fmla="*/ 20051 h 938212"/>
                    <a:gd name="connsiteX71" fmla="*/ 702786 w 1065213"/>
                    <a:gd name="connsiteY71" fmla="*/ 22199 h 938212"/>
                    <a:gd name="connsiteX72" fmla="*/ 727075 w 1065213"/>
                    <a:gd name="connsiteY72" fmla="*/ 18619 h 938212"/>
                    <a:gd name="connsiteX73" fmla="*/ 704215 w 1065213"/>
                    <a:gd name="connsiteY73" fmla="*/ 45114 h 938212"/>
                    <a:gd name="connsiteX74" fmla="*/ 639921 w 1065213"/>
                    <a:gd name="connsiteY74" fmla="*/ 175445 h 938212"/>
                    <a:gd name="connsiteX75" fmla="*/ 637778 w 1065213"/>
                    <a:gd name="connsiteY75" fmla="*/ 176877 h 938212"/>
                    <a:gd name="connsiteX76" fmla="*/ 637778 w 1065213"/>
                    <a:gd name="connsiteY76" fmla="*/ 236313 h 938212"/>
                    <a:gd name="connsiteX77" fmla="*/ 633492 w 1065213"/>
                    <a:gd name="connsiteY77" fmla="*/ 240610 h 938212"/>
                    <a:gd name="connsiteX78" fmla="*/ 606346 w 1065213"/>
                    <a:gd name="connsiteY78" fmla="*/ 262093 h 938212"/>
                    <a:gd name="connsiteX79" fmla="*/ 606346 w 1065213"/>
                    <a:gd name="connsiteY79" fmla="*/ 199792 h 938212"/>
                    <a:gd name="connsiteX80" fmla="*/ 529908 w 1065213"/>
                    <a:gd name="connsiteY80" fmla="*/ 229152 h 938212"/>
                    <a:gd name="connsiteX81" fmla="*/ 460613 w 1065213"/>
                    <a:gd name="connsiteY81" fmla="*/ 204089 h 938212"/>
                    <a:gd name="connsiteX82" fmla="*/ 460613 w 1065213"/>
                    <a:gd name="connsiteY82" fmla="*/ 263525 h 938212"/>
                    <a:gd name="connsiteX83" fmla="*/ 458470 w 1065213"/>
                    <a:gd name="connsiteY83" fmla="*/ 263525 h 938212"/>
                    <a:gd name="connsiteX84" fmla="*/ 430610 w 1065213"/>
                    <a:gd name="connsiteY84" fmla="*/ 240610 h 938212"/>
                    <a:gd name="connsiteX85" fmla="*/ 429181 w 1065213"/>
                    <a:gd name="connsiteY85" fmla="*/ 239178 h 938212"/>
                    <a:gd name="connsiteX86" fmla="*/ 429181 w 1065213"/>
                    <a:gd name="connsiteY86" fmla="*/ 183322 h 938212"/>
                    <a:gd name="connsiteX87" fmla="*/ 419894 w 1065213"/>
                    <a:gd name="connsiteY87" fmla="*/ 175445 h 938212"/>
                    <a:gd name="connsiteX88" fmla="*/ 355600 w 1065213"/>
                    <a:gd name="connsiteY88" fmla="*/ 45831 h 938212"/>
                    <a:gd name="connsiteX89" fmla="*/ 327025 w 1065213"/>
                    <a:gd name="connsiteY89" fmla="*/ 2148 h 938212"/>
                    <a:gd name="connsiteX90" fmla="*/ 340598 w 1065213"/>
                    <a:gd name="connsiteY90" fmla="*/ 4297 h 938212"/>
                    <a:gd name="connsiteX91" fmla="*/ 359172 w 1065213"/>
                    <a:gd name="connsiteY91" fmla="*/ 0 h 938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1065213" h="938212">
                      <a:moveTo>
                        <a:pt x="906333" y="763587"/>
                      </a:moveTo>
                      <a:cubicBezTo>
                        <a:pt x="906333" y="763587"/>
                        <a:pt x="906333" y="763587"/>
                        <a:pt x="1025135" y="763587"/>
                      </a:cubicBezTo>
                      <a:cubicBezTo>
                        <a:pt x="1025135" y="763587"/>
                        <a:pt x="1025135" y="763587"/>
                        <a:pt x="993646" y="795077"/>
                      </a:cubicBezTo>
                      <a:cubicBezTo>
                        <a:pt x="993646" y="795077"/>
                        <a:pt x="993646" y="795077"/>
                        <a:pt x="922078" y="795077"/>
                      </a:cubicBezTo>
                      <a:cubicBezTo>
                        <a:pt x="922078" y="795077"/>
                        <a:pt x="922078" y="795077"/>
                        <a:pt x="922078" y="906722"/>
                      </a:cubicBezTo>
                      <a:cubicBezTo>
                        <a:pt x="922078" y="906722"/>
                        <a:pt x="922078" y="906722"/>
                        <a:pt x="1033723" y="906722"/>
                      </a:cubicBezTo>
                      <a:cubicBezTo>
                        <a:pt x="1033723" y="906722"/>
                        <a:pt x="1033723" y="906722"/>
                        <a:pt x="1033723" y="888830"/>
                      </a:cubicBezTo>
                      <a:lnTo>
                        <a:pt x="1065213" y="857341"/>
                      </a:lnTo>
                      <a:cubicBezTo>
                        <a:pt x="1065213" y="857341"/>
                        <a:pt x="1065213" y="857341"/>
                        <a:pt x="1065213" y="922467"/>
                      </a:cubicBezTo>
                      <a:cubicBezTo>
                        <a:pt x="1065213" y="931771"/>
                        <a:pt x="1058056" y="938212"/>
                        <a:pt x="1049468" y="938212"/>
                      </a:cubicBezTo>
                      <a:cubicBezTo>
                        <a:pt x="1049468" y="938212"/>
                        <a:pt x="1049468" y="938212"/>
                        <a:pt x="906333" y="938212"/>
                      </a:cubicBezTo>
                      <a:cubicBezTo>
                        <a:pt x="897745" y="938212"/>
                        <a:pt x="890588" y="931771"/>
                        <a:pt x="890588" y="922467"/>
                      </a:cubicBezTo>
                      <a:cubicBezTo>
                        <a:pt x="890588" y="922467"/>
                        <a:pt x="890588" y="922467"/>
                        <a:pt x="890588" y="779332"/>
                      </a:cubicBezTo>
                      <a:cubicBezTo>
                        <a:pt x="890588" y="770744"/>
                        <a:pt x="897745" y="763587"/>
                        <a:pt x="906333" y="763587"/>
                      </a:cubicBezTo>
                      <a:close/>
                      <a:moveTo>
                        <a:pt x="461833" y="763587"/>
                      </a:moveTo>
                      <a:cubicBezTo>
                        <a:pt x="461833" y="763587"/>
                        <a:pt x="461833" y="763587"/>
                        <a:pt x="580635" y="763587"/>
                      </a:cubicBezTo>
                      <a:cubicBezTo>
                        <a:pt x="580635" y="763587"/>
                        <a:pt x="580635" y="763587"/>
                        <a:pt x="549146" y="795077"/>
                      </a:cubicBezTo>
                      <a:cubicBezTo>
                        <a:pt x="549146" y="795077"/>
                        <a:pt x="549146" y="795077"/>
                        <a:pt x="477578" y="795077"/>
                      </a:cubicBezTo>
                      <a:cubicBezTo>
                        <a:pt x="477578" y="795077"/>
                        <a:pt x="477578" y="795077"/>
                        <a:pt x="477578" y="906722"/>
                      </a:cubicBezTo>
                      <a:cubicBezTo>
                        <a:pt x="477578" y="906722"/>
                        <a:pt x="477578" y="906722"/>
                        <a:pt x="589223" y="906722"/>
                      </a:cubicBezTo>
                      <a:cubicBezTo>
                        <a:pt x="589223" y="906722"/>
                        <a:pt x="589223" y="906722"/>
                        <a:pt x="589223" y="888830"/>
                      </a:cubicBezTo>
                      <a:cubicBezTo>
                        <a:pt x="589223" y="888830"/>
                        <a:pt x="589223" y="888830"/>
                        <a:pt x="620713" y="857341"/>
                      </a:cubicBezTo>
                      <a:cubicBezTo>
                        <a:pt x="620713" y="857341"/>
                        <a:pt x="620713" y="857341"/>
                        <a:pt x="620713" y="922467"/>
                      </a:cubicBezTo>
                      <a:cubicBezTo>
                        <a:pt x="620713" y="931771"/>
                        <a:pt x="613556" y="938212"/>
                        <a:pt x="604968" y="938212"/>
                      </a:cubicBezTo>
                      <a:cubicBezTo>
                        <a:pt x="604968" y="938212"/>
                        <a:pt x="604968" y="938212"/>
                        <a:pt x="461833" y="938212"/>
                      </a:cubicBezTo>
                      <a:cubicBezTo>
                        <a:pt x="453245" y="938212"/>
                        <a:pt x="446088" y="931771"/>
                        <a:pt x="446088" y="922467"/>
                      </a:cubicBezTo>
                      <a:cubicBezTo>
                        <a:pt x="446088" y="922467"/>
                        <a:pt x="446088" y="922467"/>
                        <a:pt x="446088" y="779332"/>
                      </a:cubicBezTo>
                      <a:cubicBezTo>
                        <a:pt x="446088" y="770744"/>
                        <a:pt x="453245" y="763587"/>
                        <a:pt x="461833" y="763587"/>
                      </a:cubicBezTo>
                      <a:close/>
                      <a:moveTo>
                        <a:pt x="15809" y="763587"/>
                      </a:moveTo>
                      <a:cubicBezTo>
                        <a:pt x="15809" y="763587"/>
                        <a:pt x="15809" y="763587"/>
                        <a:pt x="135101" y="763587"/>
                      </a:cubicBezTo>
                      <a:cubicBezTo>
                        <a:pt x="135101" y="763587"/>
                        <a:pt x="135101" y="763587"/>
                        <a:pt x="103481" y="795077"/>
                      </a:cubicBezTo>
                      <a:cubicBezTo>
                        <a:pt x="103481" y="795077"/>
                        <a:pt x="103481" y="795077"/>
                        <a:pt x="31619" y="795077"/>
                      </a:cubicBezTo>
                      <a:cubicBezTo>
                        <a:pt x="31619" y="795077"/>
                        <a:pt x="31619" y="795077"/>
                        <a:pt x="31619" y="906722"/>
                      </a:cubicBezTo>
                      <a:cubicBezTo>
                        <a:pt x="31619" y="906722"/>
                        <a:pt x="31619" y="906722"/>
                        <a:pt x="143724" y="906722"/>
                      </a:cubicBezTo>
                      <a:cubicBezTo>
                        <a:pt x="143724" y="906722"/>
                        <a:pt x="143724" y="906722"/>
                        <a:pt x="143724" y="888830"/>
                      </a:cubicBezTo>
                      <a:cubicBezTo>
                        <a:pt x="143724" y="888830"/>
                        <a:pt x="143724" y="888830"/>
                        <a:pt x="174625" y="857341"/>
                      </a:cubicBezTo>
                      <a:cubicBezTo>
                        <a:pt x="174625" y="857341"/>
                        <a:pt x="174625" y="857341"/>
                        <a:pt x="174625" y="922467"/>
                      </a:cubicBezTo>
                      <a:cubicBezTo>
                        <a:pt x="174625" y="931771"/>
                        <a:pt x="167439" y="938212"/>
                        <a:pt x="158815" y="938212"/>
                      </a:cubicBezTo>
                      <a:cubicBezTo>
                        <a:pt x="158815" y="938212"/>
                        <a:pt x="158815" y="938212"/>
                        <a:pt x="15809" y="938212"/>
                      </a:cubicBezTo>
                      <a:cubicBezTo>
                        <a:pt x="7186" y="938212"/>
                        <a:pt x="0" y="931771"/>
                        <a:pt x="0" y="922467"/>
                      </a:cubicBezTo>
                      <a:cubicBezTo>
                        <a:pt x="0" y="922467"/>
                        <a:pt x="0" y="922467"/>
                        <a:pt x="0" y="779332"/>
                      </a:cubicBezTo>
                      <a:cubicBezTo>
                        <a:pt x="0" y="770744"/>
                        <a:pt x="7186" y="763587"/>
                        <a:pt x="15809" y="763587"/>
                      </a:cubicBezTo>
                      <a:close/>
                      <a:moveTo>
                        <a:pt x="514137" y="466725"/>
                      </a:moveTo>
                      <a:cubicBezTo>
                        <a:pt x="514137" y="466725"/>
                        <a:pt x="514137" y="466725"/>
                        <a:pt x="545599" y="466725"/>
                      </a:cubicBezTo>
                      <a:cubicBezTo>
                        <a:pt x="545599" y="466725"/>
                        <a:pt x="545599" y="466725"/>
                        <a:pt x="545599" y="605696"/>
                      </a:cubicBezTo>
                      <a:cubicBezTo>
                        <a:pt x="545599" y="605696"/>
                        <a:pt x="545599" y="605696"/>
                        <a:pt x="979632" y="605696"/>
                      </a:cubicBezTo>
                      <a:cubicBezTo>
                        <a:pt x="988213" y="605696"/>
                        <a:pt x="995363" y="612822"/>
                        <a:pt x="995363" y="621374"/>
                      </a:cubicBezTo>
                      <a:cubicBezTo>
                        <a:pt x="995363" y="621374"/>
                        <a:pt x="995363" y="621374"/>
                        <a:pt x="995363" y="731838"/>
                      </a:cubicBezTo>
                      <a:cubicBezTo>
                        <a:pt x="995363" y="731838"/>
                        <a:pt x="995363" y="731838"/>
                        <a:pt x="963901" y="731838"/>
                      </a:cubicBezTo>
                      <a:cubicBezTo>
                        <a:pt x="963901" y="731838"/>
                        <a:pt x="963901" y="731838"/>
                        <a:pt x="963901" y="637053"/>
                      </a:cubicBezTo>
                      <a:cubicBezTo>
                        <a:pt x="963901" y="637053"/>
                        <a:pt x="963901" y="637053"/>
                        <a:pt x="545599" y="637053"/>
                      </a:cubicBezTo>
                      <a:cubicBezTo>
                        <a:pt x="545599" y="637053"/>
                        <a:pt x="545599" y="637053"/>
                        <a:pt x="545599" y="731838"/>
                      </a:cubicBezTo>
                      <a:cubicBezTo>
                        <a:pt x="545599" y="731838"/>
                        <a:pt x="545599" y="731838"/>
                        <a:pt x="514137" y="731838"/>
                      </a:cubicBezTo>
                      <a:cubicBezTo>
                        <a:pt x="514137" y="731838"/>
                        <a:pt x="514137" y="731838"/>
                        <a:pt x="514137" y="637053"/>
                      </a:cubicBezTo>
                      <a:cubicBezTo>
                        <a:pt x="514137" y="637053"/>
                        <a:pt x="514137" y="637053"/>
                        <a:pt x="96550" y="637053"/>
                      </a:cubicBezTo>
                      <a:cubicBezTo>
                        <a:pt x="96550" y="637053"/>
                        <a:pt x="96550" y="637053"/>
                        <a:pt x="96550" y="731838"/>
                      </a:cubicBezTo>
                      <a:cubicBezTo>
                        <a:pt x="96550" y="731838"/>
                        <a:pt x="96550" y="731838"/>
                        <a:pt x="65088" y="731838"/>
                      </a:cubicBezTo>
                      <a:cubicBezTo>
                        <a:pt x="65088" y="731838"/>
                        <a:pt x="65088" y="731838"/>
                        <a:pt x="65088" y="621374"/>
                      </a:cubicBezTo>
                      <a:cubicBezTo>
                        <a:pt x="65088" y="612822"/>
                        <a:pt x="72238" y="605696"/>
                        <a:pt x="80819" y="605696"/>
                      </a:cubicBezTo>
                      <a:cubicBezTo>
                        <a:pt x="80819" y="605696"/>
                        <a:pt x="80819" y="605696"/>
                        <a:pt x="514137" y="605696"/>
                      </a:cubicBezTo>
                      <a:cubicBezTo>
                        <a:pt x="514137" y="605696"/>
                        <a:pt x="514137" y="605696"/>
                        <a:pt x="514137" y="466725"/>
                      </a:cubicBezTo>
                      <a:close/>
                      <a:moveTo>
                        <a:pt x="359172" y="0"/>
                      </a:moveTo>
                      <a:cubicBezTo>
                        <a:pt x="362030" y="8593"/>
                        <a:pt x="366316" y="16470"/>
                        <a:pt x="373460" y="19335"/>
                      </a:cubicBezTo>
                      <a:cubicBezTo>
                        <a:pt x="377746" y="20767"/>
                        <a:pt x="380603" y="24348"/>
                        <a:pt x="382746" y="28644"/>
                      </a:cubicBezTo>
                      <a:cubicBezTo>
                        <a:pt x="403463" y="80919"/>
                        <a:pt x="431324" y="143220"/>
                        <a:pt x="440611" y="151097"/>
                      </a:cubicBezTo>
                      <a:cubicBezTo>
                        <a:pt x="445611" y="155394"/>
                        <a:pt x="452041" y="161839"/>
                        <a:pt x="460613" y="166852"/>
                      </a:cubicBezTo>
                      <a:cubicBezTo>
                        <a:pt x="482045" y="181890"/>
                        <a:pt x="512048" y="197644"/>
                        <a:pt x="529908" y="197644"/>
                      </a:cubicBezTo>
                      <a:cubicBezTo>
                        <a:pt x="553482" y="197644"/>
                        <a:pt x="600631" y="168284"/>
                        <a:pt x="619205" y="151097"/>
                      </a:cubicBezTo>
                      <a:cubicBezTo>
                        <a:pt x="628491" y="143220"/>
                        <a:pt x="656352" y="80919"/>
                        <a:pt x="677069" y="28644"/>
                      </a:cubicBezTo>
                      <a:cubicBezTo>
                        <a:pt x="678498" y="25064"/>
                        <a:pt x="680641" y="21483"/>
                        <a:pt x="684213" y="20051"/>
                      </a:cubicBezTo>
                      <a:cubicBezTo>
                        <a:pt x="684213" y="20051"/>
                        <a:pt x="684213" y="20051"/>
                        <a:pt x="684927" y="20051"/>
                      </a:cubicBezTo>
                      <a:cubicBezTo>
                        <a:pt x="690642" y="21483"/>
                        <a:pt x="696357" y="22199"/>
                        <a:pt x="702786" y="22199"/>
                      </a:cubicBezTo>
                      <a:cubicBezTo>
                        <a:pt x="710645" y="22199"/>
                        <a:pt x="719217" y="20767"/>
                        <a:pt x="727075" y="18619"/>
                      </a:cubicBezTo>
                      <a:cubicBezTo>
                        <a:pt x="722789" y="27928"/>
                        <a:pt x="715645" y="37953"/>
                        <a:pt x="704215" y="45114"/>
                      </a:cubicBezTo>
                      <a:cubicBezTo>
                        <a:pt x="691356" y="77339"/>
                        <a:pt x="657781" y="158258"/>
                        <a:pt x="639921" y="175445"/>
                      </a:cubicBezTo>
                      <a:cubicBezTo>
                        <a:pt x="639207" y="176161"/>
                        <a:pt x="638493" y="176161"/>
                        <a:pt x="637778" y="176877"/>
                      </a:cubicBezTo>
                      <a:cubicBezTo>
                        <a:pt x="637778" y="236313"/>
                        <a:pt x="637778" y="236313"/>
                        <a:pt x="637778" y="236313"/>
                      </a:cubicBezTo>
                      <a:cubicBezTo>
                        <a:pt x="633492" y="240610"/>
                        <a:pt x="633492" y="240610"/>
                        <a:pt x="633492" y="240610"/>
                      </a:cubicBezTo>
                      <a:cubicBezTo>
                        <a:pt x="632778" y="240610"/>
                        <a:pt x="622776" y="249203"/>
                        <a:pt x="606346" y="262093"/>
                      </a:cubicBezTo>
                      <a:cubicBezTo>
                        <a:pt x="606346" y="199792"/>
                        <a:pt x="606346" y="199792"/>
                        <a:pt x="606346" y="199792"/>
                      </a:cubicBezTo>
                      <a:cubicBezTo>
                        <a:pt x="583486" y="214114"/>
                        <a:pt x="553482" y="229152"/>
                        <a:pt x="529908" y="229152"/>
                      </a:cubicBezTo>
                      <a:cubicBezTo>
                        <a:pt x="508476" y="229152"/>
                        <a:pt x="482759" y="216979"/>
                        <a:pt x="460613" y="204089"/>
                      </a:cubicBezTo>
                      <a:cubicBezTo>
                        <a:pt x="460613" y="263525"/>
                        <a:pt x="460613" y="263525"/>
                        <a:pt x="460613" y="263525"/>
                      </a:cubicBezTo>
                      <a:cubicBezTo>
                        <a:pt x="458470" y="263525"/>
                        <a:pt x="458470" y="263525"/>
                        <a:pt x="458470" y="263525"/>
                      </a:cubicBezTo>
                      <a:cubicBezTo>
                        <a:pt x="442754" y="249919"/>
                        <a:pt x="431324" y="240610"/>
                        <a:pt x="430610" y="240610"/>
                      </a:cubicBezTo>
                      <a:cubicBezTo>
                        <a:pt x="429181" y="239178"/>
                        <a:pt x="429181" y="239178"/>
                        <a:pt x="429181" y="239178"/>
                      </a:cubicBezTo>
                      <a:cubicBezTo>
                        <a:pt x="429181" y="183322"/>
                        <a:pt x="429181" y="183322"/>
                        <a:pt x="429181" y="183322"/>
                      </a:cubicBezTo>
                      <a:cubicBezTo>
                        <a:pt x="424895" y="180457"/>
                        <a:pt x="422037" y="177593"/>
                        <a:pt x="419894" y="175445"/>
                      </a:cubicBezTo>
                      <a:cubicBezTo>
                        <a:pt x="401320" y="158974"/>
                        <a:pt x="368459" y="78055"/>
                        <a:pt x="355600" y="45831"/>
                      </a:cubicBezTo>
                      <a:cubicBezTo>
                        <a:pt x="339170" y="36521"/>
                        <a:pt x="330597" y="17903"/>
                        <a:pt x="327025" y="2148"/>
                      </a:cubicBezTo>
                      <a:cubicBezTo>
                        <a:pt x="332026" y="4297"/>
                        <a:pt x="337026" y="4297"/>
                        <a:pt x="340598" y="4297"/>
                      </a:cubicBezTo>
                      <a:cubicBezTo>
                        <a:pt x="347742" y="4297"/>
                        <a:pt x="354171" y="2865"/>
                        <a:pt x="359172" y="0"/>
                      </a:cubicBezTo>
                      <a:close/>
                    </a:path>
                  </a:pathLst>
                </a:custGeom>
                <a:solidFill>
                  <a:srgbClr val="452D6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31"/>
                <p:cNvSpPr>
                  <a:spLocks/>
                </p:cNvSpPr>
                <p:nvPr/>
              </p:nvSpPr>
              <p:spPr bwMode="auto">
                <a:xfrm>
                  <a:off x="5616420" y="2774950"/>
                  <a:ext cx="1055998" cy="1208088"/>
                </a:xfrm>
                <a:custGeom>
                  <a:avLst/>
                  <a:gdLst>
                    <a:gd name="connsiteX0" fmla="*/ 1040245 w 1055998"/>
                    <a:gd name="connsiteY0" fmla="*/ 1074738 h 1208088"/>
                    <a:gd name="connsiteX1" fmla="*/ 1051702 w 1055998"/>
                    <a:gd name="connsiteY1" fmla="*/ 1079017 h 1208088"/>
                    <a:gd name="connsiteX2" fmla="*/ 1051702 w 1055998"/>
                    <a:gd name="connsiteY2" fmla="*/ 1101123 h 1208088"/>
                    <a:gd name="connsiteX3" fmla="*/ 950021 w 1055998"/>
                    <a:gd name="connsiteY3" fmla="*/ 1203096 h 1208088"/>
                    <a:gd name="connsiteX4" fmla="*/ 938564 w 1055998"/>
                    <a:gd name="connsiteY4" fmla="*/ 1208088 h 1208088"/>
                    <a:gd name="connsiteX5" fmla="*/ 927823 w 1055998"/>
                    <a:gd name="connsiteY5" fmla="*/ 1203096 h 1208088"/>
                    <a:gd name="connsiteX6" fmla="*/ 895600 w 1055998"/>
                    <a:gd name="connsiteY6" fmla="*/ 1171720 h 1208088"/>
                    <a:gd name="connsiteX7" fmla="*/ 895600 w 1055998"/>
                    <a:gd name="connsiteY7" fmla="*/ 1148901 h 1208088"/>
                    <a:gd name="connsiteX8" fmla="*/ 906341 w 1055998"/>
                    <a:gd name="connsiteY8" fmla="*/ 1143909 h 1208088"/>
                    <a:gd name="connsiteX9" fmla="*/ 917798 w 1055998"/>
                    <a:gd name="connsiteY9" fmla="*/ 1148901 h 1208088"/>
                    <a:gd name="connsiteX10" fmla="*/ 938564 w 1055998"/>
                    <a:gd name="connsiteY10" fmla="*/ 1170294 h 1208088"/>
                    <a:gd name="connsiteX11" fmla="*/ 1029504 w 1055998"/>
                    <a:gd name="connsiteY11" fmla="*/ 1079017 h 1208088"/>
                    <a:gd name="connsiteX12" fmla="*/ 1040245 w 1055998"/>
                    <a:gd name="connsiteY12" fmla="*/ 1074738 h 1208088"/>
                    <a:gd name="connsiteX13" fmla="*/ 594320 w 1055998"/>
                    <a:gd name="connsiteY13" fmla="*/ 1074738 h 1208088"/>
                    <a:gd name="connsiteX14" fmla="*/ 604959 w 1055998"/>
                    <a:gd name="connsiteY14" fmla="*/ 1079017 h 1208088"/>
                    <a:gd name="connsiteX15" fmla="*/ 604959 w 1055998"/>
                    <a:gd name="connsiteY15" fmla="*/ 1101123 h 1208088"/>
                    <a:gd name="connsiteX16" fmla="*/ 565947 w 1055998"/>
                    <a:gd name="connsiteY16" fmla="*/ 1141057 h 1208088"/>
                    <a:gd name="connsiteX17" fmla="*/ 534738 w 1055998"/>
                    <a:gd name="connsiteY17" fmla="*/ 1173146 h 1208088"/>
                    <a:gd name="connsiteX18" fmla="*/ 504237 w 1055998"/>
                    <a:gd name="connsiteY18" fmla="*/ 1203096 h 1208088"/>
                    <a:gd name="connsiteX19" fmla="*/ 493598 w 1055998"/>
                    <a:gd name="connsiteY19" fmla="*/ 1208088 h 1208088"/>
                    <a:gd name="connsiteX20" fmla="*/ 482249 w 1055998"/>
                    <a:gd name="connsiteY20" fmla="*/ 1203096 h 1208088"/>
                    <a:gd name="connsiteX21" fmla="*/ 450330 w 1055998"/>
                    <a:gd name="connsiteY21" fmla="*/ 1171720 h 1208088"/>
                    <a:gd name="connsiteX22" fmla="*/ 450330 w 1055998"/>
                    <a:gd name="connsiteY22" fmla="*/ 1148901 h 1208088"/>
                    <a:gd name="connsiteX23" fmla="*/ 461679 w 1055998"/>
                    <a:gd name="connsiteY23" fmla="*/ 1143909 h 1208088"/>
                    <a:gd name="connsiteX24" fmla="*/ 472318 w 1055998"/>
                    <a:gd name="connsiteY24" fmla="*/ 1148901 h 1208088"/>
                    <a:gd name="connsiteX25" fmla="*/ 493598 w 1055998"/>
                    <a:gd name="connsiteY25" fmla="*/ 1170294 h 1208088"/>
                    <a:gd name="connsiteX26" fmla="*/ 563110 w 1055998"/>
                    <a:gd name="connsiteY26" fmla="*/ 1098984 h 1208088"/>
                    <a:gd name="connsiteX27" fmla="*/ 582971 w 1055998"/>
                    <a:gd name="connsiteY27" fmla="*/ 1079017 h 1208088"/>
                    <a:gd name="connsiteX28" fmla="*/ 594320 w 1055998"/>
                    <a:gd name="connsiteY28" fmla="*/ 1074738 h 1208088"/>
                    <a:gd name="connsiteX29" fmla="*/ 149657 w 1055998"/>
                    <a:gd name="connsiteY29" fmla="*/ 1074738 h 1208088"/>
                    <a:gd name="connsiteX30" fmla="*/ 160398 w 1055998"/>
                    <a:gd name="connsiteY30" fmla="*/ 1079017 h 1208088"/>
                    <a:gd name="connsiteX31" fmla="*/ 160398 w 1055998"/>
                    <a:gd name="connsiteY31" fmla="*/ 1101123 h 1208088"/>
                    <a:gd name="connsiteX32" fmla="*/ 121015 w 1055998"/>
                    <a:gd name="connsiteY32" fmla="*/ 1141057 h 1208088"/>
                    <a:gd name="connsiteX33" fmla="*/ 89508 w 1055998"/>
                    <a:gd name="connsiteY33" fmla="*/ 1173146 h 1208088"/>
                    <a:gd name="connsiteX34" fmla="*/ 58717 w 1055998"/>
                    <a:gd name="connsiteY34" fmla="*/ 1203096 h 1208088"/>
                    <a:gd name="connsiteX35" fmla="*/ 47976 w 1055998"/>
                    <a:gd name="connsiteY35" fmla="*/ 1208088 h 1208088"/>
                    <a:gd name="connsiteX36" fmla="*/ 36519 w 1055998"/>
                    <a:gd name="connsiteY36" fmla="*/ 1203096 h 1208088"/>
                    <a:gd name="connsiteX37" fmla="*/ 4296 w 1055998"/>
                    <a:gd name="connsiteY37" fmla="*/ 1171720 h 1208088"/>
                    <a:gd name="connsiteX38" fmla="*/ 4296 w 1055998"/>
                    <a:gd name="connsiteY38" fmla="*/ 1148901 h 1208088"/>
                    <a:gd name="connsiteX39" fmla="*/ 15753 w 1055998"/>
                    <a:gd name="connsiteY39" fmla="*/ 1143909 h 1208088"/>
                    <a:gd name="connsiteX40" fmla="*/ 26494 w 1055998"/>
                    <a:gd name="connsiteY40" fmla="*/ 1148901 h 1208088"/>
                    <a:gd name="connsiteX41" fmla="*/ 47976 w 1055998"/>
                    <a:gd name="connsiteY41" fmla="*/ 1170294 h 1208088"/>
                    <a:gd name="connsiteX42" fmla="*/ 118150 w 1055998"/>
                    <a:gd name="connsiteY42" fmla="*/ 1098984 h 1208088"/>
                    <a:gd name="connsiteX43" fmla="*/ 138200 w 1055998"/>
                    <a:gd name="connsiteY43" fmla="*/ 1079017 h 1208088"/>
                    <a:gd name="connsiteX44" fmla="*/ 149657 w 1055998"/>
                    <a:gd name="connsiteY44" fmla="*/ 1074738 h 1208088"/>
                    <a:gd name="connsiteX45" fmla="*/ 356446 w 1055998"/>
                    <a:gd name="connsiteY45" fmla="*/ 593725 h 1208088"/>
                    <a:gd name="connsiteX46" fmla="*/ 475133 w 1055998"/>
                    <a:gd name="connsiteY46" fmla="*/ 690569 h 1208088"/>
                    <a:gd name="connsiteX47" fmla="*/ 480853 w 1055998"/>
                    <a:gd name="connsiteY47" fmla="*/ 690569 h 1208088"/>
                    <a:gd name="connsiteX48" fmla="*/ 559501 w 1055998"/>
                    <a:gd name="connsiteY48" fmla="*/ 626724 h 1208088"/>
                    <a:gd name="connsiteX49" fmla="*/ 599540 w 1055998"/>
                    <a:gd name="connsiteY49" fmla="*/ 593725 h 1208088"/>
                    <a:gd name="connsiteX50" fmla="*/ 760411 w 1055998"/>
                    <a:gd name="connsiteY50" fmla="*/ 620985 h 1208088"/>
                    <a:gd name="connsiteX51" fmla="*/ 850498 w 1055998"/>
                    <a:gd name="connsiteY51" fmla="*/ 752980 h 1208088"/>
                    <a:gd name="connsiteX52" fmla="*/ 841919 w 1055998"/>
                    <a:gd name="connsiteY52" fmla="*/ 765175 h 1208088"/>
                    <a:gd name="connsiteX53" fmla="*/ 114067 w 1055998"/>
                    <a:gd name="connsiteY53" fmla="*/ 765175 h 1208088"/>
                    <a:gd name="connsiteX54" fmla="*/ 105488 w 1055998"/>
                    <a:gd name="connsiteY54" fmla="*/ 752980 h 1208088"/>
                    <a:gd name="connsiteX55" fmla="*/ 195575 w 1055998"/>
                    <a:gd name="connsiteY55" fmla="*/ 620985 h 1208088"/>
                    <a:gd name="connsiteX56" fmla="*/ 297103 w 1055998"/>
                    <a:gd name="connsiteY56" fmla="*/ 597312 h 1208088"/>
                    <a:gd name="connsiteX57" fmla="*/ 356446 w 1055998"/>
                    <a:gd name="connsiteY57" fmla="*/ 593725 h 1208088"/>
                    <a:gd name="connsiteX58" fmla="*/ 478781 w 1055998"/>
                    <a:gd name="connsiteY58" fmla="*/ 0 h 1208088"/>
                    <a:gd name="connsiteX59" fmla="*/ 687532 w 1055998"/>
                    <a:gd name="connsiteY59" fmla="*/ 211298 h 1208088"/>
                    <a:gd name="connsiteX60" fmla="*/ 686817 w 1055998"/>
                    <a:gd name="connsiteY60" fmla="*/ 251273 h 1208088"/>
                    <a:gd name="connsiteX61" fmla="*/ 701830 w 1055998"/>
                    <a:gd name="connsiteY61" fmla="*/ 296959 h 1208088"/>
                    <a:gd name="connsiteX62" fmla="*/ 675379 w 1055998"/>
                    <a:gd name="connsiteY62" fmla="*/ 311950 h 1208088"/>
                    <a:gd name="connsiteX63" fmla="*/ 649642 w 1055998"/>
                    <a:gd name="connsiteY63" fmla="*/ 319088 h 1208088"/>
                    <a:gd name="connsiteX64" fmla="*/ 637489 w 1055998"/>
                    <a:gd name="connsiteY64" fmla="*/ 316233 h 1208088"/>
                    <a:gd name="connsiteX65" fmla="*/ 384414 w 1055998"/>
                    <a:gd name="connsiteY65" fmla="*/ 165612 h 1208088"/>
                    <a:gd name="connsiteX66" fmla="*/ 363682 w 1055998"/>
                    <a:gd name="connsiteY66" fmla="*/ 177747 h 1208088"/>
                    <a:gd name="connsiteX67" fmla="*/ 292907 w 1055998"/>
                    <a:gd name="connsiteY67" fmla="*/ 295531 h 1208088"/>
                    <a:gd name="connsiteX68" fmla="*/ 281469 w 1055998"/>
                    <a:gd name="connsiteY68" fmla="*/ 298387 h 1208088"/>
                    <a:gd name="connsiteX69" fmla="*/ 279324 w 1055998"/>
                    <a:gd name="connsiteY69" fmla="*/ 295531 h 1208088"/>
                    <a:gd name="connsiteX70" fmla="*/ 270030 w 1055998"/>
                    <a:gd name="connsiteY70" fmla="*/ 211298 h 1208088"/>
                    <a:gd name="connsiteX71" fmla="*/ 478781 w 1055998"/>
                    <a:gd name="connsiteY71" fmla="*/ 0 h 1208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1055998" h="1208088">
                      <a:moveTo>
                        <a:pt x="1040245" y="1074738"/>
                      </a:moveTo>
                      <a:cubicBezTo>
                        <a:pt x="1044541" y="1074738"/>
                        <a:pt x="1048121" y="1076164"/>
                        <a:pt x="1051702" y="1079017"/>
                      </a:cubicBezTo>
                      <a:cubicBezTo>
                        <a:pt x="1057430" y="1085435"/>
                        <a:pt x="1057430" y="1095418"/>
                        <a:pt x="1051702" y="1101123"/>
                      </a:cubicBezTo>
                      <a:cubicBezTo>
                        <a:pt x="1051702" y="1101123"/>
                        <a:pt x="1051702" y="1101123"/>
                        <a:pt x="950021" y="1203096"/>
                      </a:cubicBezTo>
                      <a:cubicBezTo>
                        <a:pt x="947156" y="1206662"/>
                        <a:pt x="942860" y="1208088"/>
                        <a:pt x="938564" y="1208088"/>
                      </a:cubicBezTo>
                      <a:cubicBezTo>
                        <a:pt x="934267" y="1208088"/>
                        <a:pt x="930687" y="1206662"/>
                        <a:pt x="927823" y="1203096"/>
                      </a:cubicBezTo>
                      <a:cubicBezTo>
                        <a:pt x="927823" y="1203096"/>
                        <a:pt x="927823" y="1203096"/>
                        <a:pt x="895600" y="1171720"/>
                      </a:cubicBezTo>
                      <a:cubicBezTo>
                        <a:pt x="889155" y="1165302"/>
                        <a:pt x="889155" y="1155319"/>
                        <a:pt x="895600" y="1148901"/>
                      </a:cubicBezTo>
                      <a:cubicBezTo>
                        <a:pt x="898464" y="1145335"/>
                        <a:pt x="902760" y="1143909"/>
                        <a:pt x="906341" y="1143909"/>
                      </a:cubicBezTo>
                      <a:cubicBezTo>
                        <a:pt x="910637" y="1143909"/>
                        <a:pt x="914934" y="1145335"/>
                        <a:pt x="917798" y="1148901"/>
                      </a:cubicBezTo>
                      <a:cubicBezTo>
                        <a:pt x="917798" y="1148901"/>
                        <a:pt x="917798" y="1148901"/>
                        <a:pt x="938564" y="1170294"/>
                      </a:cubicBezTo>
                      <a:cubicBezTo>
                        <a:pt x="938564" y="1170294"/>
                        <a:pt x="938564" y="1170294"/>
                        <a:pt x="1029504" y="1079017"/>
                      </a:cubicBezTo>
                      <a:cubicBezTo>
                        <a:pt x="1032368" y="1076164"/>
                        <a:pt x="1036664" y="1074738"/>
                        <a:pt x="1040245" y="1074738"/>
                      </a:cubicBezTo>
                      <a:close/>
                      <a:moveTo>
                        <a:pt x="594320" y="1074738"/>
                      </a:moveTo>
                      <a:cubicBezTo>
                        <a:pt x="597866" y="1074738"/>
                        <a:pt x="602122" y="1076164"/>
                        <a:pt x="604959" y="1079017"/>
                      </a:cubicBezTo>
                      <a:cubicBezTo>
                        <a:pt x="611343" y="1085435"/>
                        <a:pt x="611343" y="1095418"/>
                        <a:pt x="604959" y="1101123"/>
                      </a:cubicBezTo>
                      <a:cubicBezTo>
                        <a:pt x="604959" y="1101123"/>
                        <a:pt x="604959" y="1101123"/>
                        <a:pt x="565947" y="1141057"/>
                      </a:cubicBezTo>
                      <a:cubicBezTo>
                        <a:pt x="565947" y="1141057"/>
                        <a:pt x="565947" y="1141057"/>
                        <a:pt x="534738" y="1173146"/>
                      </a:cubicBezTo>
                      <a:cubicBezTo>
                        <a:pt x="534738" y="1173146"/>
                        <a:pt x="534738" y="1173146"/>
                        <a:pt x="504237" y="1203096"/>
                      </a:cubicBezTo>
                      <a:cubicBezTo>
                        <a:pt x="501400" y="1206662"/>
                        <a:pt x="497854" y="1208088"/>
                        <a:pt x="493598" y="1208088"/>
                      </a:cubicBezTo>
                      <a:cubicBezTo>
                        <a:pt x="489342" y="1208088"/>
                        <a:pt x="485086" y="1206662"/>
                        <a:pt x="482249" y="1203096"/>
                      </a:cubicBezTo>
                      <a:cubicBezTo>
                        <a:pt x="482249" y="1203096"/>
                        <a:pt x="482249" y="1203096"/>
                        <a:pt x="450330" y="1171720"/>
                      </a:cubicBezTo>
                      <a:cubicBezTo>
                        <a:pt x="444655" y="1165302"/>
                        <a:pt x="444655" y="1155319"/>
                        <a:pt x="450330" y="1148901"/>
                      </a:cubicBezTo>
                      <a:cubicBezTo>
                        <a:pt x="453876" y="1145335"/>
                        <a:pt x="457423" y="1143909"/>
                        <a:pt x="461679" y="1143909"/>
                      </a:cubicBezTo>
                      <a:cubicBezTo>
                        <a:pt x="465225" y="1143909"/>
                        <a:pt x="469481" y="1145335"/>
                        <a:pt x="472318" y="1148901"/>
                      </a:cubicBezTo>
                      <a:cubicBezTo>
                        <a:pt x="472318" y="1148901"/>
                        <a:pt x="472318" y="1148901"/>
                        <a:pt x="493598" y="1170294"/>
                      </a:cubicBezTo>
                      <a:cubicBezTo>
                        <a:pt x="493598" y="1170294"/>
                        <a:pt x="493598" y="1170294"/>
                        <a:pt x="563110" y="1098984"/>
                      </a:cubicBezTo>
                      <a:cubicBezTo>
                        <a:pt x="563110" y="1098984"/>
                        <a:pt x="563110" y="1098984"/>
                        <a:pt x="582971" y="1079017"/>
                      </a:cubicBezTo>
                      <a:cubicBezTo>
                        <a:pt x="585808" y="1076164"/>
                        <a:pt x="590064" y="1074738"/>
                        <a:pt x="594320" y="1074738"/>
                      </a:cubicBezTo>
                      <a:close/>
                      <a:moveTo>
                        <a:pt x="149657" y="1074738"/>
                      </a:moveTo>
                      <a:cubicBezTo>
                        <a:pt x="153238" y="1074738"/>
                        <a:pt x="157534" y="1076164"/>
                        <a:pt x="160398" y="1079017"/>
                      </a:cubicBezTo>
                      <a:cubicBezTo>
                        <a:pt x="166843" y="1085435"/>
                        <a:pt x="166843" y="1095418"/>
                        <a:pt x="160398" y="1101123"/>
                      </a:cubicBezTo>
                      <a:cubicBezTo>
                        <a:pt x="121015" y="1141057"/>
                        <a:pt x="121015" y="1141057"/>
                        <a:pt x="121015" y="1141057"/>
                      </a:cubicBezTo>
                      <a:cubicBezTo>
                        <a:pt x="89508" y="1173146"/>
                        <a:pt x="89508" y="1173146"/>
                        <a:pt x="89508" y="1173146"/>
                      </a:cubicBezTo>
                      <a:cubicBezTo>
                        <a:pt x="58717" y="1203096"/>
                        <a:pt x="58717" y="1203096"/>
                        <a:pt x="58717" y="1203096"/>
                      </a:cubicBezTo>
                      <a:cubicBezTo>
                        <a:pt x="55853" y="1206662"/>
                        <a:pt x="52273" y="1208088"/>
                        <a:pt x="47976" y="1208088"/>
                      </a:cubicBezTo>
                      <a:cubicBezTo>
                        <a:pt x="43680" y="1208088"/>
                        <a:pt x="39383" y="1206662"/>
                        <a:pt x="36519" y="1203096"/>
                      </a:cubicBezTo>
                      <a:cubicBezTo>
                        <a:pt x="4296" y="1171720"/>
                        <a:pt x="4296" y="1171720"/>
                        <a:pt x="4296" y="1171720"/>
                      </a:cubicBezTo>
                      <a:cubicBezTo>
                        <a:pt x="-1432" y="1165302"/>
                        <a:pt x="-1432" y="1155319"/>
                        <a:pt x="4296" y="1148901"/>
                      </a:cubicBezTo>
                      <a:cubicBezTo>
                        <a:pt x="7877" y="1145335"/>
                        <a:pt x="11457" y="1143909"/>
                        <a:pt x="15753" y="1143909"/>
                      </a:cubicBezTo>
                      <a:cubicBezTo>
                        <a:pt x="19334" y="1143909"/>
                        <a:pt x="23630" y="1145335"/>
                        <a:pt x="26494" y="1148901"/>
                      </a:cubicBezTo>
                      <a:cubicBezTo>
                        <a:pt x="47976" y="1170294"/>
                        <a:pt x="47976" y="1170294"/>
                        <a:pt x="47976" y="1170294"/>
                      </a:cubicBezTo>
                      <a:cubicBezTo>
                        <a:pt x="118150" y="1098984"/>
                        <a:pt x="118150" y="1098984"/>
                        <a:pt x="118150" y="1098984"/>
                      </a:cubicBezTo>
                      <a:cubicBezTo>
                        <a:pt x="138200" y="1079017"/>
                        <a:pt x="138200" y="1079017"/>
                        <a:pt x="138200" y="1079017"/>
                      </a:cubicBezTo>
                      <a:cubicBezTo>
                        <a:pt x="141064" y="1076164"/>
                        <a:pt x="145361" y="1074738"/>
                        <a:pt x="149657" y="1074738"/>
                      </a:cubicBezTo>
                      <a:close/>
                      <a:moveTo>
                        <a:pt x="356446" y="593725"/>
                      </a:moveTo>
                      <a:cubicBezTo>
                        <a:pt x="356446" y="593725"/>
                        <a:pt x="437239" y="660440"/>
                        <a:pt x="475133" y="690569"/>
                      </a:cubicBezTo>
                      <a:cubicBezTo>
                        <a:pt x="477278" y="692004"/>
                        <a:pt x="479423" y="692004"/>
                        <a:pt x="480853" y="690569"/>
                      </a:cubicBezTo>
                      <a:cubicBezTo>
                        <a:pt x="506592" y="669766"/>
                        <a:pt x="535907" y="645375"/>
                        <a:pt x="559501" y="626724"/>
                      </a:cubicBezTo>
                      <a:cubicBezTo>
                        <a:pt x="582380" y="607355"/>
                        <a:pt x="599540" y="593725"/>
                        <a:pt x="599540" y="593725"/>
                      </a:cubicBezTo>
                      <a:cubicBezTo>
                        <a:pt x="599540" y="593725"/>
                        <a:pt x="703927" y="594442"/>
                        <a:pt x="760411" y="620985"/>
                      </a:cubicBezTo>
                      <a:cubicBezTo>
                        <a:pt x="806169" y="641789"/>
                        <a:pt x="839059" y="722133"/>
                        <a:pt x="850498" y="752980"/>
                      </a:cubicBezTo>
                      <a:cubicBezTo>
                        <a:pt x="852643" y="759436"/>
                        <a:pt x="848353" y="765175"/>
                        <a:pt x="841919" y="765175"/>
                      </a:cubicBezTo>
                      <a:cubicBezTo>
                        <a:pt x="841919" y="765175"/>
                        <a:pt x="841919" y="765175"/>
                        <a:pt x="114067" y="765175"/>
                      </a:cubicBezTo>
                      <a:cubicBezTo>
                        <a:pt x="107633" y="765175"/>
                        <a:pt x="103343" y="759436"/>
                        <a:pt x="105488" y="752980"/>
                      </a:cubicBezTo>
                      <a:cubicBezTo>
                        <a:pt x="116927" y="722133"/>
                        <a:pt x="149817" y="641789"/>
                        <a:pt x="195575" y="620985"/>
                      </a:cubicBezTo>
                      <a:cubicBezTo>
                        <a:pt x="224175" y="608072"/>
                        <a:pt x="264213" y="600899"/>
                        <a:pt x="297103" y="597312"/>
                      </a:cubicBezTo>
                      <a:cubicBezTo>
                        <a:pt x="330707" y="593725"/>
                        <a:pt x="356446" y="593725"/>
                        <a:pt x="356446" y="593725"/>
                      </a:cubicBezTo>
                      <a:close/>
                      <a:moveTo>
                        <a:pt x="478781" y="0"/>
                      </a:moveTo>
                      <a:cubicBezTo>
                        <a:pt x="596740" y="0"/>
                        <a:pt x="687532" y="94941"/>
                        <a:pt x="687532" y="211298"/>
                      </a:cubicBezTo>
                      <a:cubicBezTo>
                        <a:pt x="687532" y="225575"/>
                        <a:pt x="687532" y="238424"/>
                        <a:pt x="686817" y="251273"/>
                      </a:cubicBezTo>
                      <a:cubicBezTo>
                        <a:pt x="685388" y="262695"/>
                        <a:pt x="689677" y="279827"/>
                        <a:pt x="701830" y="296959"/>
                      </a:cubicBezTo>
                      <a:cubicBezTo>
                        <a:pt x="701830" y="296959"/>
                        <a:pt x="689677" y="305525"/>
                        <a:pt x="675379" y="311950"/>
                      </a:cubicBezTo>
                      <a:cubicBezTo>
                        <a:pt x="666800" y="315519"/>
                        <a:pt x="657506" y="318374"/>
                        <a:pt x="649642" y="319088"/>
                      </a:cubicBezTo>
                      <a:cubicBezTo>
                        <a:pt x="645353" y="319088"/>
                        <a:pt x="641064" y="318374"/>
                        <a:pt x="637489" y="316233"/>
                      </a:cubicBezTo>
                      <a:cubicBezTo>
                        <a:pt x="613897" y="302670"/>
                        <a:pt x="514526" y="165612"/>
                        <a:pt x="384414" y="165612"/>
                      </a:cubicBezTo>
                      <a:cubicBezTo>
                        <a:pt x="384414" y="165612"/>
                        <a:pt x="370116" y="173464"/>
                        <a:pt x="363682" y="177747"/>
                      </a:cubicBezTo>
                      <a:cubicBezTo>
                        <a:pt x="317214" y="209156"/>
                        <a:pt x="305775" y="276258"/>
                        <a:pt x="292907" y="295531"/>
                      </a:cubicBezTo>
                      <a:cubicBezTo>
                        <a:pt x="289333" y="301242"/>
                        <a:pt x="285758" y="302670"/>
                        <a:pt x="281469" y="298387"/>
                      </a:cubicBezTo>
                      <a:cubicBezTo>
                        <a:pt x="280754" y="297673"/>
                        <a:pt x="280039" y="296959"/>
                        <a:pt x="279324" y="295531"/>
                      </a:cubicBezTo>
                      <a:cubicBezTo>
                        <a:pt x="273605" y="281254"/>
                        <a:pt x="270030" y="235568"/>
                        <a:pt x="270030" y="211298"/>
                      </a:cubicBezTo>
                      <a:cubicBezTo>
                        <a:pt x="270030" y="94941"/>
                        <a:pt x="360823" y="0"/>
                        <a:pt x="478781" y="0"/>
                      </a:cubicBezTo>
                      <a:close/>
                    </a:path>
                  </a:pathLst>
                </a:custGeom>
                <a:solidFill>
                  <a:srgbClr val="B61872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57" name="ee4pHeader1"/>
            <p:cNvSpPr txBox="1"/>
            <p:nvPr/>
          </p:nvSpPr>
          <p:spPr>
            <a:xfrm>
              <a:off x="5675086" y="5524014"/>
              <a:ext cx="5882930" cy="80021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lvl="3"/>
              <a:r>
                <a:rPr lang="en-US" sz="2000" dirty="0">
                  <a:solidFill>
                    <a:srgbClr val="B61872">
                      <a:lumMod val="100000"/>
                    </a:srgbClr>
                  </a:solidFill>
                  <a:latin typeface="Trebuchet MS" panose="020B0603020202020204" pitchFamily="34" charset="0"/>
                </a:rPr>
                <a:t>Role clarity</a:t>
              </a:r>
            </a:p>
            <a:p>
              <a:pPr marL="0" lvl="3"/>
              <a:r>
                <a:rPr lang="en-US" sz="1600" dirty="0">
                  <a:latin typeface="Trebuchet MS" panose="020B0603020202020204" pitchFamily="34" charset="0"/>
                </a:rPr>
                <a:t>Design roles and responsibilities for each activity to ensure clarity and empowerment of key stakeholders</a:t>
              </a:r>
              <a:endParaRPr lang="en-US" sz="1600" dirty="0">
                <a:solidFill>
                  <a:srgbClr val="B61872">
                    <a:lumMod val="100000"/>
                  </a:srgbClr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33" name="ee4pFootnotes"/>
          <p:cNvSpPr>
            <a:spLocks noChangeArrowheads="1"/>
          </p:cNvSpPr>
          <p:nvPr/>
        </p:nvSpPr>
        <p:spPr bwMode="auto">
          <a:xfrm>
            <a:off x="629998" y="6422472"/>
            <a:ext cx="841875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0404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382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6" name="think-cell Slide" r:id="rId6" imgW="471" imgH="472" progId="TCLayout.ActiveDocument.1">
                  <p:embed/>
                </p:oleObj>
              </mc:Choice>
              <mc:Fallback>
                <p:oleObj name="think-cell Slide" r:id="rId6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1201782" cy="886397"/>
          </a:xfrm>
        </p:spPr>
        <p:txBody>
          <a:bodyPr/>
          <a:lstStyle/>
          <a:p>
            <a:r>
              <a:rPr lang="en-US" sz="3200" dirty="0"/>
              <a:t>New sourcing strategic planning process ensures clear understanding of demand to allow optimal sourcing</a:t>
            </a:r>
            <a:endParaRPr lang="en-US" sz="3200" u="sng" dirty="0"/>
          </a:p>
        </p:txBody>
      </p:sp>
      <p:sp>
        <p:nvSpPr>
          <p:cNvPr id="16" name="Rectangle 15"/>
          <p:cNvSpPr/>
          <p:nvPr/>
        </p:nvSpPr>
        <p:spPr>
          <a:xfrm>
            <a:off x="2909093" y="2534070"/>
            <a:ext cx="7837129" cy="6230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5600" lvl="1">
              <a:spcAft>
                <a:spcPts val="2400"/>
              </a:spcAft>
              <a:buClr>
                <a:schemeClr val="tx2"/>
              </a:buClr>
              <a:buSzPct val="100000"/>
            </a:pP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Alignment with corporate planning process</a:t>
            </a:r>
            <a:r>
              <a:rPr lang="en-US" sz="1600" dirty="0">
                <a:solidFill>
                  <a:schemeClr val="tx1"/>
                </a:solidFill>
                <a:latin typeface="Trebuchet MS" panose="020B0603020202020204" pitchFamily="34" charset="0"/>
              </a:rPr>
              <a:t>,</a:t>
            </a: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Trebuchet MS" panose="020B0603020202020204" pitchFamily="34" charset="0"/>
              </a:rPr>
              <a:t>including feedback instances between both processes to ensure accurate demand forecasts</a:t>
            </a: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630000" y="1937935"/>
            <a:ext cx="10933200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rgbClr val="452D6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US" sz="1800" dirty="0">
                <a:solidFill>
                  <a:srgbClr val="B61872"/>
                </a:solidFill>
              </a:rPr>
              <a:t>Characteristics of new strategic sourcing planning process</a:t>
            </a:r>
          </a:p>
        </p:txBody>
      </p:sp>
      <p:sp>
        <p:nvSpPr>
          <p:cNvPr id="8" name="Rectangle 7"/>
          <p:cNvSpPr/>
          <p:nvPr/>
        </p:nvSpPr>
        <p:spPr>
          <a:xfrm>
            <a:off x="3152504" y="6198998"/>
            <a:ext cx="8620842" cy="331809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6800" lvl="1" indent="-151200">
              <a:spcAft>
                <a:spcPts val="2400"/>
              </a:spcAft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lang="en-US" sz="16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909093" y="3301188"/>
            <a:ext cx="7837129" cy="6230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5600" lvl="1">
              <a:spcAft>
                <a:spcPts val="2400"/>
              </a:spcAft>
              <a:buClr>
                <a:schemeClr val="tx2"/>
              </a:buClr>
              <a:buSzPct val="100000"/>
            </a:pP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Coordinated activities between </a:t>
            </a:r>
            <a:r>
              <a:rPr lang="en-US" sz="1600" dirty="0" err="1">
                <a:solidFill>
                  <a:srgbClr val="B61872"/>
                </a:solidFill>
                <a:latin typeface="Trebuchet MS" panose="020B0603020202020204" pitchFamily="34" charset="0"/>
              </a:rPr>
              <a:t>SCM</a:t>
            </a: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 and user areas </a:t>
            </a:r>
            <a:r>
              <a:rPr lang="en-US" sz="1600" dirty="0">
                <a:solidFill>
                  <a:schemeClr val="tx1"/>
                </a:solidFill>
                <a:latin typeface="Trebuchet MS" panose="020B0603020202020204" pitchFamily="34" charset="0"/>
              </a:rPr>
              <a:t>to estimate demand forecasts and define category strateg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909093" y="4068306"/>
            <a:ext cx="7837129" cy="6230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5600" lvl="1">
              <a:spcAft>
                <a:spcPts val="2400"/>
              </a:spcAft>
              <a:buClr>
                <a:schemeClr val="tx2"/>
              </a:buClr>
              <a:buSzPct val="100000"/>
            </a:pP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Anticipation of category strategy definition</a:t>
            </a:r>
            <a:r>
              <a:rPr lang="en-US" sz="1600" dirty="0">
                <a:solidFill>
                  <a:schemeClr val="tx1"/>
                </a:solidFill>
                <a:latin typeface="Trebuchet MS" panose="020B0603020202020204" pitchFamily="34" charset="0"/>
              </a:rPr>
              <a:t> to sourcing requirements, allowing faster sourcing with clear technical requirements and sound market analys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909093" y="4835424"/>
            <a:ext cx="7837129" cy="6230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5600" lvl="1">
              <a:spcAft>
                <a:spcPts val="2400"/>
              </a:spcAft>
              <a:buClr>
                <a:schemeClr val="tx2"/>
              </a:buClr>
              <a:buSzPct val="100000"/>
            </a:pP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Tiered analysis requirements </a:t>
            </a:r>
            <a:r>
              <a:rPr lang="en-US" sz="1600" dirty="0">
                <a:solidFill>
                  <a:schemeClr val="tx1"/>
                </a:solidFill>
                <a:latin typeface="Trebuchet MS" panose="020B0603020202020204" pitchFamily="34" charset="0"/>
              </a:rPr>
              <a:t>for category strategy to ensure strategic focus of </a:t>
            </a:r>
            <a:r>
              <a:rPr lang="en-US" sz="1600" dirty="0" err="1">
                <a:solidFill>
                  <a:schemeClr val="tx1"/>
                </a:solidFill>
                <a:latin typeface="Trebuchet MS" panose="020B0603020202020204" pitchFamily="34" charset="0"/>
              </a:rPr>
              <a:t>SCM</a:t>
            </a:r>
            <a:r>
              <a:rPr lang="en-US" sz="1600" dirty="0">
                <a:solidFill>
                  <a:schemeClr val="tx1"/>
                </a:solidFill>
                <a:latin typeface="Trebuchet MS" panose="020B0603020202020204" pitchFamily="34" charset="0"/>
              </a:rPr>
              <a:t> team on critical categories</a:t>
            </a:r>
            <a:endParaRPr lang="en-US" sz="1600" dirty="0">
              <a:solidFill>
                <a:srgbClr val="7F7F7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09093" y="5602544"/>
            <a:ext cx="7837129" cy="62301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5600" lvl="1">
              <a:spcAft>
                <a:spcPts val="2400"/>
              </a:spcAft>
              <a:buClr>
                <a:schemeClr val="tx2"/>
              </a:buClr>
              <a:buSzPct val="100000"/>
            </a:pPr>
            <a:r>
              <a:rPr lang="en-US" sz="1600" dirty="0">
                <a:solidFill>
                  <a:srgbClr val="B61872"/>
                </a:solidFill>
                <a:latin typeface="Trebuchet MS" panose="020B0603020202020204" pitchFamily="34" charset="0"/>
              </a:rPr>
              <a:t>Cleary defined workflow to validate purchase plans </a:t>
            </a:r>
            <a:r>
              <a:rPr lang="en-US" sz="16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with involvement of </a:t>
            </a:r>
            <a:r>
              <a:rPr lang="en-US" sz="1600" dirty="0" err="1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SCM</a:t>
            </a:r>
            <a:r>
              <a:rPr lang="en-US" sz="16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</a:rPr>
              <a:t>, VPs of user areas, CFO, and CEO</a:t>
            </a:r>
          </a:p>
        </p:txBody>
      </p:sp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1965315" y="2443389"/>
            <a:ext cx="805155" cy="804378"/>
            <a:chOff x="5273675" y="2606675"/>
            <a:chExt cx="1646238" cy="1644650"/>
          </a:xfrm>
        </p:grpSpPr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519738" y="2911475"/>
              <a:ext cx="1154113" cy="963613"/>
              <a:chOff x="5519738" y="2911475"/>
              <a:chExt cx="1154113" cy="963613"/>
            </a:xfrm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5605462" y="3319463"/>
                <a:ext cx="982662" cy="474662"/>
              </a:xfrm>
              <a:custGeom>
                <a:avLst/>
                <a:gdLst>
                  <a:gd name="connsiteX0" fmla="*/ 770723 w 982662"/>
                  <a:gd name="connsiteY0" fmla="*/ 255587 h 474662"/>
                  <a:gd name="connsiteX1" fmla="*/ 975526 w 982662"/>
                  <a:gd name="connsiteY1" fmla="*/ 255587 h 474662"/>
                  <a:gd name="connsiteX2" fmla="*/ 982662 w 982662"/>
                  <a:gd name="connsiteY2" fmla="*/ 262723 h 474662"/>
                  <a:gd name="connsiteX3" fmla="*/ 982662 w 982662"/>
                  <a:gd name="connsiteY3" fmla="*/ 467526 h 474662"/>
                  <a:gd name="connsiteX4" fmla="*/ 975526 w 982662"/>
                  <a:gd name="connsiteY4" fmla="*/ 474662 h 474662"/>
                  <a:gd name="connsiteX5" fmla="*/ 770723 w 982662"/>
                  <a:gd name="connsiteY5" fmla="*/ 474662 h 474662"/>
                  <a:gd name="connsiteX6" fmla="*/ 763587 w 982662"/>
                  <a:gd name="connsiteY6" fmla="*/ 467526 h 474662"/>
                  <a:gd name="connsiteX7" fmla="*/ 763587 w 982662"/>
                  <a:gd name="connsiteY7" fmla="*/ 262723 h 474662"/>
                  <a:gd name="connsiteX8" fmla="*/ 770723 w 982662"/>
                  <a:gd name="connsiteY8" fmla="*/ 255587 h 474662"/>
                  <a:gd name="connsiteX9" fmla="*/ 516723 w 982662"/>
                  <a:gd name="connsiteY9" fmla="*/ 255587 h 474662"/>
                  <a:gd name="connsiteX10" fmla="*/ 721526 w 982662"/>
                  <a:gd name="connsiteY10" fmla="*/ 255587 h 474662"/>
                  <a:gd name="connsiteX11" fmla="*/ 728662 w 982662"/>
                  <a:gd name="connsiteY11" fmla="*/ 262723 h 474662"/>
                  <a:gd name="connsiteX12" fmla="*/ 728662 w 982662"/>
                  <a:gd name="connsiteY12" fmla="*/ 467526 h 474662"/>
                  <a:gd name="connsiteX13" fmla="*/ 721526 w 982662"/>
                  <a:gd name="connsiteY13" fmla="*/ 474662 h 474662"/>
                  <a:gd name="connsiteX14" fmla="*/ 516723 w 982662"/>
                  <a:gd name="connsiteY14" fmla="*/ 474662 h 474662"/>
                  <a:gd name="connsiteX15" fmla="*/ 509587 w 982662"/>
                  <a:gd name="connsiteY15" fmla="*/ 467526 h 474662"/>
                  <a:gd name="connsiteX16" fmla="*/ 509587 w 982662"/>
                  <a:gd name="connsiteY16" fmla="*/ 262723 h 474662"/>
                  <a:gd name="connsiteX17" fmla="*/ 516723 w 982662"/>
                  <a:gd name="connsiteY17" fmla="*/ 255587 h 474662"/>
                  <a:gd name="connsiteX18" fmla="*/ 261136 w 982662"/>
                  <a:gd name="connsiteY18" fmla="*/ 255587 h 474662"/>
                  <a:gd name="connsiteX19" fmla="*/ 465939 w 982662"/>
                  <a:gd name="connsiteY19" fmla="*/ 255587 h 474662"/>
                  <a:gd name="connsiteX20" fmla="*/ 473075 w 982662"/>
                  <a:gd name="connsiteY20" fmla="*/ 262723 h 474662"/>
                  <a:gd name="connsiteX21" fmla="*/ 473075 w 982662"/>
                  <a:gd name="connsiteY21" fmla="*/ 467526 h 474662"/>
                  <a:gd name="connsiteX22" fmla="*/ 465939 w 982662"/>
                  <a:gd name="connsiteY22" fmla="*/ 474662 h 474662"/>
                  <a:gd name="connsiteX23" fmla="*/ 261136 w 982662"/>
                  <a:gd name="connsiteY23" fmla="*/ 474662 h 474662"/>
                  <a:gd name="connsiteX24" fmla="*/ 254000 w 982662"/>
                  <a:gd name="connsiteY24" fmla="*/ 467526 h 474662"/>
                  <a:gd name="connsiteX25" fmla="*/ 254000 w 982662"/>
                  <a:gd name="connsiteY25" fmla="*/ 262723 h 474662"/>
                  <a:gd name="connsiteX26" fmla="*/ 261136 w 982662"/>
                  <a:gd name="connsiteY26" fmla="*/ 255587 h 474662"/>
                  <a:gd name="connsiteX27" fmla="*/ 7136 w 982662"/>
                  <a:gd name="connsiteY27" fmla="*/ 255587 h 474662"/>
                  <a:gd name="connsiteX28" fmla="*/ 211939 w 982662"/>
                  <a:gd name="connsiteY28" fmla="*/ 255587 h 474662"/>
                  <a:gd name="connsiteX29" fmla="*/ 219075 w 982662"/>
                  <a:gd name="connsiteY29" fmla="*/ 262723 h 474662"/>
                  <a:gd name="connsiteX30" fmla="*/ 219075 w 982662"/>
                  <a:gd name="connsiteY30" fmla="*/ 467526 h 474662"/>
                  <a:gd name="connsiteX31" fmla="*/ 211939 w 982662"/>
                  <a:gd name="connsiteY31" fmla="*/ 474662 h 474662"/>
                  <a:gd name="connsiteX32" fmla="*/ 7136 w 982662"/>
                  <a:gd name="connsiteY32" fmla="*/ 474662 h 474662"/>
                  <a:gd name="connsiteX33" fmla="*/ 0 w 982662"/>
                  <a:gd name="connsiteY33" fmla="*/ 467526 h 474662"/>
                  <a:gd name="connsiteX34" fmla="*/ 0 w 982662"/>
                  <a:gd name="connsiteY34" fmla="*/ 262723 h 474662"/>
                  <a:gd name="connsiteX35" fmla="*/ 7136 w 982662"/>
                  <a:gd name="connsiteY35" fmla="*/ 255587 h 474662"/>
                  <a:gd name="connsiteX36" fmla="*/ 770723 w 982662"/>
                  <a:gd name="connsiteY36" fmla="*/ 0 h 474662"/>
                  <a:gd name="connsiteX37" fmla="*/ 975526 w 982662"/>
                  <a:gd name="connsiteY37" fmla="*/ 0 h 474662"/>
                  <a:gd name="connsiteX38" fmla="*/ 982662 w 982662"/>
                  <a:gd name="connsiteY38" fmla="*/ 7108 h 474662"/>
                  <a:gd name="connsiteX39" fmla="*/ 982662 w 982662"/>
                  <a:gd name="connsiteY39" fmla="*/ 210381 h 474662"/>
                  <a:gd name="connsiteX40" fmla="*/ 975526 w 982662"/>
                  <a:gd name="connsiteY40" fmla="*/ 217488 h 474662"/>
                  <a:gd name="connsiteX41" fmla="*/ 770723 w 982662"/>
                  <a:gd name="connsiteY41" fmla="*/ 217488 h 474662"/>
                  <a:gd name="connsiteX42" fmla="*/ 763587 w 982662"/>
                  <a:gd name="connsiteY42" fmla="*/ 210381 h 474662"/>
                  <a:gd name="connsiteX43" fmla="*/ 763587 w 982662"/>
                  <a:gd name="connsiteY43" fmla="*/ 7108 h 474662"/>
                  <a:gd name="connsiteX44" fmla="*/ 770723 w 982662"/>
                  <a:gd name="connsiteY44" fmla="*/ 0 h 474662"/>
                  <a:gd name="connsiteX45" fmla="*/ 516723 w 982662"/>
                  <a:gd name="connsiteY45" fmla="*/ 0 h 474662"/>
                  <a:gd name="connsiteX46" fmla="*/ 721526 w 982662"/>
                  <a:gd name="connsiteY46" fmla="*/ 0 h 474662"/>
                  <a:gd name="connsiteX47" fmla="*/ 728662 w 982662"/>
                  <a:gd name="connsiteY47" fmla="*/ 7108 h 474662"/>
                  <a:gd name="connsiteX48" fmla="*/ 728662 w 982662"/>
                  <a:gd name="connsiteY48" fmla="*/ 210381 h 474662"/>
                  <a:gd name="connsiteX49" fmla="*/ 721526 w 982662"/>
                  <a:gd name="connsiteY49" fmla="*/ 217488 h 474662"/>
                  <a:gd name="connsiteX50" fmla="*/ 516723 w 982662"/>
                  <a:gd name="connsiteY50" fmla="*/ 217488 h 474662"/>
                  <a:gd name="connsiteX51" fmla="*/ 509587 w 982662"/>
                  <a:gd name="connsiteY51" fmla="*/ 210381 h 474662"/>
                  <a:gd name="connsiteX52" fmla="*/ 509587 w 982662"/>
                  <a:gd name="connsiteY52" fmla="*/ 7108 h 474662"/>
                  <a:gd name="connsiteX53" fmla="*/ 516723 w 982662"/>
                  <a:gd name="connsiteY53" fmla="*/ 0 h 474662"/>
                  <a:gd name="connsiteX54" fmla="*/ 261136 w 982662"/>
                  <a:gd name="connsiteY54" fmla="*/ 0 h 474662"/>
                  <a:gd name="connsiteX55" fmla="*/ 465939 w 982662"/>
                  <a:gd name="connsiteY55" fmla="*/ 0 h 474662"/>
                  <a:gd name="connsiteX56" fmla="*/ 473075 w 982662"/>
                  <a:gd name="connsiteY56" fmla="*/ 7108 h 474662"/>
                  <a:gd name="connsiteX57" fmla="*/ 473075 w 982662"/>
                  <a:gd name="connsiteY57" fmla="*/ 210381 h 474662"/>
                  <a:gd name="connsiteX58" fmla="*/ 465939 w 982662"/>
                  <a:gd name="connsiteY58" fmla="*/ 217488 h 474662"/>
                  <a:gd name="connsiteX59" fmla="*/ 261136 w 982662"/>
                  <a:gd name="connsiteY59" fmla="*/ 217488 h 474662"/>
                  <a:gd name="connsiteX60" fmla="*/ 254000 w 982662"/>
                  <a:gd name="connsiteY60" fmla="*/ 210381 h 474662"/>
                  <a:gd name="connsiteX61" fmla="*/ 254000 w 982662"/>
                  <a:gd name="connsiteY61" fmla="*/ 7108 h 474662"/>
                  <a:gd name="connsiteX62" fmla="*/ 261136 w 982662"/>
                  <a:gd name="connsiteY62" fmla="*/ 0 h 474662"/>
                  <a:gd name="connsiteX63" fmla="*/ 7136 w 982662"/>
                  <a:gd name="connsiteY63" fmla="*/ 0 h 474662"/>
                  <a:gd name="connsiteX64" fmla="*/ 211939 w 982662"/>
                  <a:gd name="connsiteY64" fmla="*/ 0 h 474662"/>
                  <a:gd name="connsiteX65" fmla="*/ 219075 w 982662"/>
                  <a:gd name="connsiteY65" fmla="*/ 7108 h 474662"/>
                  <a:gd name="connsiteX66" fmla="*/ 219075 w 982662"/>
                  <a:gd name="connsiteY66" fmla="*/ 210381 h 474662"/>
                  <a:gd name="connsiteX67" fmla="*/ 211939 w 982662"/>
                  <a:gd name="connsiteY67" fmla="*/ 217488 h 474662"/>
                  <a:gd name="connsiteX68" fmla="*/ 7136 w 982662"/>
                  <a:gd name="connsiteY68" fmla="*/ 217488 h 474662"/>
                  <a:gd name="connsiteX69" fmla="*/ 0 w 982662"/>
                  <a:gd name="connsiteY69" fmla="*/ 210381 h 474662"/>
                  <a:gd name="connsiteX70" fmla="*/ 0 w 982662"/>
                  <a:gd name="connsiteY70" fmla="*/ 7108 h 474662"/>
                  <a:gd name="connsiteX71" fmla="*/ 7136 w 982662"/>
                  <a:gd name="connsiteY71" fmla="*/ 0 h 474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982662" h="474662">
                    <a:moveTo>
                      <a:pt x="770723" y="255587"/>
                    </a:moveTo>
                    <a:cubicBezTo>
                      <a:pt x="770723" y="255587"/>
                      <a:pt x="770723" y="255587"/>
                      <a:pt x="975526" y="255587"/>
                    </a:cubicBezTo>
                    <a:cubicBezTo>
                      <a:pt x="979808" y="255587"/>
                      <a:pt x="982662" y="258442"/>
                      <a:pt x="982662" y="262723"/>
                    </a:cubicBezTo>
                    <a:cubicBezTo>
                      <a:pt x="982662" y="262723"/>
                      <a:pt x="982662" y="262723"/>
                      <a:pt x="982662" y="467526"/>
                    </a:cubicBezTo>
                    <a:cubicBezTo>
                      <a:pt x="982662" y="471094"/>
                      <a:pt x="979808" y="474662"/>
                      <a:pt x="975526" y="474662"/>
                    </a:cubicBezTo>
                    <a:cubicBezTo>
                      <a:pt x="975526" y="474662"/>
                      <a:pt x="975526" y="474662"/>
                      <a:pt x="770723" y="474662"/>
                    </a:cubicBezTo>
                    <a:cubicBezTo>
                      <a:pt x="767155" y="474662"/>
                      <a:pt x="763587" y="471094"/>
                      <a:pt x="763587" y="467526"/>
                    </a:cubicBezTo>
                    <a:cubicBezTo>
                      <a:pt x="763587" y="467526"/>
                      <a:pt x="763587" y="467526"/>
                      <a:pt x="763587" y="262723"/>
                    </a:cubicBezTo>
                    <a:cubicBezTo>
                      <a:pt x="763587" y="258442"/>
                      <a:pt x="767155" y="255587"/>
                      <a:pt x="770723" y="255587"/>
                    </a:cubicBezTo>
                    <a:close/>
                    <a:moveTo>
                      <a:pt x="516723" y="255587"/>
                    </a:moveTo>
                    <a:cubicBezTo>
                      <a:pt x="516723" y="255587"/>
                      <a:pt x="516723" y="255587"/>
                      <a:pt x="721526" y="255587"/>
                    </a:cubicBezTo>
                    <a:cubicBezTo>
                      <a:pt x="725094" y="255587"/>
                      <a:pt x="728662" y="258442"/>
                      <a:pt x="728662" y="262723"/>
                    </a:cubicBezTo>
                    <a:cubicBezTo>
                      <a:pt x="728662" y="262723"/>
                      <a:pt x="728662" y="262723"/>
                      <a:pt x="728662" y="467526"/>
                    </a:cubicBezTo>
                    <a:cubicBezTo>
                      <a:pt x="728662" y="471094"/>
                      <a:pt x="725094" y="474662"/>
                      <a:pt x="721526" y="474662"/>
                    </a:cubicBezTo>
                    <a:cubicBezTo>
                      <a:pt x="721526" y="474662"/>
                      <a:pt x="721526" y="474662"/>
                      <a:pt x="516723" y="474662"/>
                    </a:cubicBezTo>
                    <a:cubicBezTo>
                      <a:pt x="512442" y="474662"/>
                      <a:pt x="509587" y="471094"/>
                      <a:pt x="509587" y="467526"/>
                    </a:cubicBezTo>
                    <a:cubicBezTo>
                      <a:pt x="509587" y="467526"/>
                      <a:pt x="509587" y="467526"/>
                      <a:pt x="509587" y="262723"/>
                    </a:cubicBezTo>
                    <a:cubicBezTo>
                      <a:pt x="509587" y="258442"/>
                      <a:pt x="512442" y="255587"/>
                      <a:pt x="516723" y="255587"/>
                    </a:cubicBezTo>
                    <a:close/>
                    <a:moveTo>
                      <a:pt x="261136" y="255587"/>
                    </a:moveTo>
                    <a:cubicBezTo>
                      <a:pt x="261136" y="255587"/>
                      <a:pt x="261136" y="255587"/>
                      <a:pt x="465939" y="255587"/>
                    </a:cubicBezTo>
                    <a:cubicBezTo>
                      <a:pt x="470220" y="255587"/>
                      <a:pt x="473075" y="258442"/>
                      <a:pt x="473075" y="262723"/>
                    </a:cubicBezTo>
                    <a:cubicBezTo>
                      <a:pt x="473075" y="262723"/>
                      <a:pt x="473075" y="262723"/>
                      <a:pt x="473075" y="467526"/>
                    </a:cubicBezTo>
                    <a:cubicBezTo>
                      <a:pt x="473075" y="471094"/>
                      <a:pt x="470220" y="474662"/>
                      <a:pt x="465939" y="474662"/>
                    </a:cubicBezTo>
                    <a:cubicBezTo>
                      <a:pt x="465939" y="474662"/>
                      <a:pt x="465939" y="474662"/>
                      <a:pt x="261136" y="474662"/>
                    </a:cubicBezTo>
                    <a:cubicBezTo>
                      <a:pt x="257568" y="474662"/>
                      <a:pt x="254000" y="471094"/>
                      <a:pt x="254000" y="467526"/>
                    </a:cubicBezTo>
                    <a:cubicBezTo>
                      <a:pt x="254000" y="467526"/>
                      <a:pt x="254000" y="467526"/>
                      <a:pt x="254000" y="262723"/>
                    </a:cubicBezTo>
                    <a:cubicBezTo>
                      <a:pt x="254000" y="258442"/>
                      <a:pt x="257568" y="255587"/>
                      <a:pt x="261136" y="255587"/>
                    </a:cubicBezTo>
                    <a:close/>
                    <a:moveTo>
                      <a:pt x="7136" y="255587"/>
                    </a:moveTo>
                    <a:cubicBezTo>
                      <a:pt x="7136" y="255587"/>
                      <a:pt x="7136" y="255587"/>
                      <a:pt x="211939" y="255587"/>
                    </a:cubicBezTo>
                    <a:cubicBezTo>
                      <a:pt x="215507" y="255587"/>
                      <a:pt x="219075" y="258442"/>
                      <a:pt x="219075" y="262723"/>
                    </a:cubicBezTo>
                    <a:cubicBezTo>
                      <a:pt x="219075" y="262723"/>
                      <a:pt x="219075" y="262723"/>
                      <a:pt x="219075" y="467526"/>
                    </a:cubicBezTo>
                    <a:cubicBezTo>
                      <a:pt x="219075" y="471094"/>
                      <a:pt x="215507" y="474662"/>
                      <a:pt x="211939" y="474662"/>
                    </a:cubicBezTo>
                    <a:cubicBezTo>
                      <a:pt x="211939" y="474662"/>
                      <a:pt x="211939" y="474662"/>
                      <a:pt x="7136" y="474662"/>
                    </a:cubicBezTo>
                    <a:cubicBezTo>
                      <a:pt x="2854" y="474662"/>
                      <a:pt x="0" y="471094"/>
                      <a:pt x="0" y="467526"/>
                    </a:cubicBezTo>
                    <a:cubicBezTo>
                      <a:pt x="0" y="467526"/>
                      <a:pt x="0" y="467526"/>
                      <a:pt x="0" y="262723"/>
                    </a:cubicBezTo>
                    <a:cubicBezTo>
                      <a:pt x="0" y="258442"/>
                      <a:pt x="2854" y="255587"/>
                      <a:pt x="7136" y="255587"/>
                    </a:cubicBezTo>
                    <a:close/>
                    <a:moveTo>
                      <a:pt x="770723" y="0"/>
                    </a:moveTo>
                    <a:cubicBezTo>
                      <a:pt x="770723" y="0"/>
                      <a:pt x="770723" y="0"/>
                      <a:pt x="975526" y="0"/>
                    </a:cubicBezTo>
                    <a:cubicBezTo>
                      <a:pt x="979808" y="0"/>
                      <a:pt x="982662" y="2843"/>
                      <a:pt x="982662" y="7108"/>
                    </a:cubicBezTo>
                    <a:cubicBezTo>
                      <a:pt x="982662" y="7108"/>
                      <a:pt x="982662" y="7108"/>
                      <a:pt x="982662" y="210381"/>
                    </a:cubicBezTo>
                    <a:cubicBezTo>
                      <a:pt x="982662" y="214645"/>
                      <a:pt x="979808" y="217488"/>
                      <a:pt x="975526" y="217488"/>
                    </a:cubicBezTo>
                    <a:cubicBezTo>
                      <a:pt x="975526" y="217488"/>
                      <a:pt x="975526" y="217488"/>
                      <a:pt x="770723" y="217488"/>
                    </a:cubicBezTo>
                    <a:cubicBezTo>
                      <a:pt x="767155" y="217488"/>
                      <a:pt x="763587" y="214645"/>
                      <a:pt x="763587" y="210381"/>
                    </a:cubicBezTo>
                    <a:cubicBezTo>
                      <a:pt x="763587" y="210381"/>
                      <a:pt x="763587" y="210381"/>
                      <a:pt x="763587" y="7108"/>
                    </a:cubicBezTo>
                    <a:cubicBezTo>
                      <a:pt x="763587" y="2843"/>
                      <a:pt x="767155" y="0"/>
                      <a:pt x="770723" y="0"/>
                    </a:cubicBezTo>
                    <a:close/>
                    <a:moveTo>
                      <a:pt x="516723" y="0"/>
                    </a:moveTo>
                    <a:cubicBezTo>
                      <a:pt x="516723" y="0"/>
                      <a:pt x="516723" y="0"/>
                      <a:pt x="721526" y="0"/>
                    </a:cubicBezTo>
                    <a:cubicBezTo>
                      <a:pt x="725094" y="0"/>
                      <a:pt x="728662" y="2843"/>
                      <a:pt x="728662" y="7108"/>
                    </a:cubicBezTo>
                    <a:cubicBezTo>
                      <a:pt x="728662" y="7108"/>
                      <a:pt x="728662" y="7108"/>
                      <a:pt x="728662" y="210381"/>
                    </a:cubicBezTo>
                    <a:cubicBezTo>
                      <a:pt x="728662" y="214645"/>
                      <a:pt x="725094" y="217488"/>
                      <a:pt x="721526" y="217488"/>
                    </a:cubicBezTo>
                    <a:cubicBezTo>
                      <a:pt x="721526" y="217488"/>
                      <a:pt x="721526" y="217488"/>
                      <a:pt x="516723" y="217488"/>
                    </a:cubicBezTo>
                    <a:cubicBezTo>
                      <a:pt x="512442" y="217488"/>
                      <a:pt x="509587" y="214645"/>
                      <a:pt x="509587" y="210381"/>
                    </a:cubicBezTo>
                    <a:cubicBezTo>
                      <a:pt x="509587" y="210381"/>
                      <a:pt x="509587" y="210381"/>
                      <a:pt x="509587" y="7108"/>
                    </a:cubicBezTo>
                    <a:cubicBezTo>
                      <a:pt x="509587" y="2843"/>
                      <a:pt x="512442" y="0"/>
                      <a:pt x="516723" y="0"/>
                    </a:cubicBezTo>
                    <a:close/>
                    <a:moveTo>
                      <a:pt x="261136" y="0"/>
                    </a:moveTo>
                    <a:cubicBezTo>
                      <a:pt x="261136" y="0"/>
                      <a:pt x="261136" y="0"/>
                      <a:pt x="465939" y="0"/>
                    </a:cubicBezTo>
                    <a:cubicBezTo>
                      <a:pt x="470220" y="0"/>
                      <a:pt x="473075" y="2843"/>
                      <a:pt x="473075" y="7108"/>
                    </a:cubicBezTo>
                    <a:cubicBezTo>
                      <a:pt x="473075" y="7108"/>
                      <a:pt x="473075" y="7108"/>
                      <a:pt x="473075" y="210381"/>
                    </a:cubicBezTo>
                    <a:cubicBezTo>
                      <a:pt x="473075" y="214645"/>
                      <a:pt x="470220" y="217488"/>
                      <a:pt x="465939" y="217488"/>
                    </a:cubicBezTo>
                    <a:cubicBezTo>
                      <a:pt x="465939" y="217488"/>
                      <a:pt x="465939" y="217488"/>
                      <a:pt x="261136" y="217488"/>
                    </a:cubicBezTo>
                    <a:cubicBezTo>
                      <a:pt x="257568" y="217488"/>
                      <a:pt x="254000" y="214645"/>
                      <a:pt x="254000" y="210381"/>
                    </a:cubicBezTo>
                    <a:cubicBezTo>
                      <a:pt x="254000" y="210381"/>
                      <a:pt x="254000" y="210381"/>
                      <a:pt x="254000" y="7108"/>
                    </a:cubicBezTo>
                    <a:cubicBezTo>
                      <a:pt x="254000" y="2843"/>
                      <a:pt x="257568" y="0"/>
                      <a:pt x="261136" y="0"/>
                    </a:cubicBezTo>
                    <a:close/>
                    <a:moveTo>
                      <a:pt x="7136" y="0"/>
                    </a:moveTo>
                    <a:cubicBezTo>
                      <a:pt x="7136" y="0"/>
                      <a:pt x="7136" y="0"/>
                      <a:pt x="211939" y="0"/>
                    </a:cubicBezTo>
                    <a:cubicBezTo>
                      <a:pt x="215507" y="0"/>
                      <a:pt x="219075" y="2843"/>
                      <a:pt x="219075" y="7108"/>
                    </a:cubicBezTo>
                    <a:cubicBezTo>
                      <a:pt x="219075" y="7108"/>
                      <a:pt x="219075" y="7108"/>
                      <a:pt x="219075" y="210381"/>
                    </a:cubicBezTo>
                    <a:cubicBezTo>
                      <a:pt x="219075" y="214645"/>
                      <a:pt x="215507" y="217488"/>
                      <a:pt x="211939" y="217488"/>
                    </a:cubicBezTo>
                    <a:cubicBezTo>
                      <a:pt x="211939" y="217488"/>
                      <a:pt x="211939" y="217488"/>
                      <a:pt x="7136" y="217488"/>
                    </a:cubicBezTo>
                    <a:cubicBezTo>
                      <a:pt x="2854" y="217488"/>
                      <a:pt x="0" y="214645"/>
                      <a:pt x="0" y="210381"/>
                    </a:cubicBezTo>
                    <a:cubicBezTo>
                      <a:pt x="0" y="210381"/>
                      <a:pt x="0" y="210381"/>
                      <a:pt x="0" y="7108"/>
                    </a:cubicBezTo>
                    <a:cubicBezTo>
                      <a:pt x="0" y="2843"/>
                      <a:pt x="2854" y="0"/>
                      <a:pt x="7136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5519738" y="2911475"/>
                <a:ext cx="1154113" cy="963613"/>
              </a:xfrm>
              <a:custGeom>
                <a:avLst/>
                <a:gdLst>
                  <a:gd name="connsiteX0" fmla="*/ 92866 w 1154113"/>
                  <a:gd name="connsiteY0" fmla="*/ 150813 h 963613"/>
                  <a:gd name="connsiteX1" fmla="*/ 163567 w 1154113"/>
                  <a:gd name="connsiteY1" fmla="*/ 150813 h 963613"/>
                  <a:gd name="connsiteX2" fmla="*/ 163567 w 1154113"/>
                  <a:gd name="connsiteY2" fmla="*/ 211469 h 963613"/>
                  <a:gd name="connsiteX3" fmla="*/ 179278 w 1154113"/>
                  <a:gd name="connsiteY3" fmla="*/ 227168 h 963613"/>
                  <a:gd name="connsiteX4" fmla="*/ 320678 w 1154113"/>
                  <a:gd name="connsiteY4" fmla="*/ 227168 h 963613"/>
                  <a:gd name="connsiteX5" fmla="*/ 336390 w 1154113"/>
                  <a:gd name="connsiteY5" fmla="*/ 211469 h 963613"/>
                  <a:gd name="connsiteX6" fmla="*/ 336390 w 1154113"/>
                  <a:gd name="connsiteY6" fmla="*/ 150813 h 963613"/>
                  <a:gd name="connsiteX7" fmla="*/ 817723 w 1154113"/>
                  <a:gd name="connsiteY7" fmla="*/ 150813 h 963613"/>
                  <a:gd name="connsiteX8" fmla="*/ 817723 w 1154113"/>
                  <a:gd name="connsiteY8" fmla="*/ 211469 h 963613"/>
                  <a:gd name="connsiteX9" fmla="*/ 833434 w 1154113"/>
                  <a:gd name="connsiteY9" fmla="*/ 227168 h 963613"/>
                  <a:gd name="connsiteX10" fmla="*/ 974835 w 1154113"/>
                  <a:gd name="connsiteY10" fmla="*/ 227168 h 963613"/>
                  <a:gd name="connsiteX11" fmla="*/ 990546 w 1154113"/>
                  <a:gd name="connsiteY11" fmla="*/ 211469 h 963613"/>
                  <a:gd name="connsiteX12" fmla="*/ 990546 w 1154113"/>
                  <a:gd name="connsiteY12" fmla="*/ 150813 h 963613"/>
                  <a:gd name="connsiteX13" fmla="*/ 1061247 w 1154113"/>
                  <a:gd name="connsiteY13" fmla="*/ 150813 h 963613"/>
                  <a:gd name="connsiteX14" fmla="*/ 1068388 w 1154113"/>
                  <a:gd name="connsiteY14" fmla="*/ 157949 h 963613"/>
                  <a:gd name="connsiteX15" fmla="*/ 1068388 w 1154113"/>
                  <a:gd name="connsiteY15" fmla="*/ 362752 h 963613"/>
                  <a:gd name="connsiteX16" fmla="*/ 1061247 w 1154113"/>
                  <a:gd name="connsiteY16" fmla="*/ 369888 h 963613"/>
                  <a:gd name="connsiteX17" fmla="*/ 92866 w 1154113"/>
                  <a:gd name="connsiteY17" fmla="*/ 369888 h 963613"/>
                  <a:gd name="connsiteX18" fmla="*/ 85725 w 1154113"/>
                  <a:gd name="connsiteY18" fmla="*/ 362752 h 963613"/>
                  <a:gd name="connsiteX19" fmla="*/ 85725 w 1154113"/>
                  <a:gd name="connsiteY19" fmla="*/ 157949 h 963613"/>
                  <a:gd name="connsiteX20" fmla="*/ 92866 w 1154113"/>
                  <a:gd name="connsiteY20" fmla="*/ 150813 h 963613"/>
                  <a:gd name="connsiteX21" fmla="*/ 336550 w 1154113"/>
                  <a:gd name="connsiteY21" fmla="*/ 71438 h 963613"/>
                  <a:gd name="connsiteX22" fmla="*/ 817563 w 1154113"/>
                  <a:gd name="connsiteY22" fmla="*/ 71438 h 963613"/>
                  <a:gd name="connsiteX23" fmla="*/ 817563 w 1154113"/>
                  <a:gd name="connsiteY23" fmla="*/ 101601 h 963613"/>
                  <a:gd name="connsiteX24" fmla="*/ 336550 w 1154113"/>
                  <a:gd name="connsiteY24" fmla="*/ 101601 h 963613"/>
                  <a:gd name="connsiteX25" fmla="*/ 15712 w 1154113"/>
                  <a:gd name="connsiteY25" fmla="*/ 71438 h 963613"/>
                  <a:gd name="connsiteX26" fmla="*/ 163547 w 1154113"/>
                  <a:gd name="connsiteY26" fmla="*/ 71438 h 963613"/>
                  <a:gd name="connsiteX27" fmla="*/ 163547 w 1154113"/>
                  <a:gd name="connsiteY27" fmla="*/ 102843 h 963613"/>
                  <a:gd name="connsiteX28" fmla="*/ 31424 w 1154113"/>
                  <a:gd name="connsiteY28" fmla="*/ 102843 h 963613"/>
                  <a:gd name="connsiteX29" fmla="*/ 31424 w 1154113"/>
                  <a:gd name="connsiteY29" fmla="*/ 932209 h 963613"/>
                  <a:gd name="connsiteX30" fmla="*/ 1122689 w 1154113"/>
                  <a:gd name="connsiteY30" fmla="*/ 932209 h 963613"/>
                  <a:gd name="connsiteX31" fmla="*/ 1122689 w 1154113"/>
                  <a:gd name="connsiteY31" fmla="*/ 102843 h 963613"/>
                  <a:gd name="connsiteX32" fmla="*/ 990566 w 1154113"/>
                  <a:gd name="connsiteY32" fmla="*/ 102843 h 963613"/>
                  <a:gd name="connsiteX33" fmla="*/ 990566 w 1154113"/>
                  <a:gd name="connsiteY33" fmla="*/ 71438 h 963613"/>
                  <a:gd name="connsiteX34" fmla="*/ 1138401 w 1154113"/>
                  <a:gd name="connsiteY34" fmla="*/ 71438 h 963613"/>
                  <a:gd name="connsiteX35" fmla="*/ 1154113 w 1154113"/>
                  <a:gd name="connsiteY35" fmla="*/ 87140 h 963613"/>
                  <a:gd name="connsiteX36" fmla="*/ 1154113 w 1154113"/>
                  <a:gd name="connsiteY36" fmla="*/ 947911 h 963613"/>
                  <a:gd name="connsiteX37" fmla="*/ 1138401 w 1154113"/>
                  <a:gd name="connsiteY37" fmla="*/ 963613 h 963613"/>
                  <a:gd name="connsiteX38" fmla="*/ 15712 w 1154113"/>
                  <a:gd name="connsiteY38" fmla="*/ 963613 h 963613"/>
                  <a:gd name="connsiteX39" fmla="*/ 0 w 1154113"/>
                  <a:gd name="connsiteY39" fmla="*/ 947911 h 963613"/>
                  <a:gd name="connsiteX40" fmla="*/ 0 w 1154113"/>
                  <a:gd name="connsiteY40" fmla="*/ 87140 h 963613"/>
                  <a:gd name="connsiteX41" fmla="*/ 15712 w 1154113"/>
                  <a:gd name="connsiteY41" fmla="*/ 71438 h 963613"/>
                  <a:gd name="connsiteX42" fmla="*/ 856425 w 1154113"/>
                  <a:gd name="connsiteY42" fmla="*/ 0 h 963613"/>
                  <a:gd name="connsiteX43" fmla="*/ 951737 w 1154113"/>
                  <a:gd name="connsiteY43" fmla="*/ 0 h 963613"/>
                  <a:gd name="connsiteX44" fmla="*/ 958850 w 1154113"/>
                  <a:gd name="connsiteY44" fmla="*/ 7153 h 963613"/>
                  <a:gd name="connsiteX45" fmla="*/ 958850 w 1154113"/>
                  <a:gd name="connsiteY45" fmla="*/ 70095 h 963613"/>
                  <a:gd name="connsiteX46" fmla="*/ 958850 w 1154113"/>
                  <a:gd name="connsiteY46" fmla="*/ 101565 h 963613"/>
                  <a:gd name="connsiteX47" fmla="*/ 958850 w 1154113"/>
                  <a:gd name="connsiteY47" fmla="*/ 150202 h 963613"/>
                  <a:gd name="connsiteX48" fmla="*/ 958850 w 1154113"/>
                  <a:gd name="connsiteY48" fmla="*/ 188111 h 963613"/>
                  <a:gd name="connsiteX49" fmla="*/ 951737 w 1154113"/>
                  <a:gd name="connsiteY49" fmla="*/ 195263 h 963613"/>
                  <a:gd name="connsiteX50" fmla="*/ 856425 w 1154113"/>
                  <a:gd name="connsiteY50" fmla="*/ 195263 h 963613"/>
                  <a:gd name="connsiteX51" fmla="*/ 849312 w 1154113"/>
                  <a:gd name="connsiteY51" fmla="*/ 188111 h 963613"/>
                  <a:gd name="connsiteX52" fmla="*/ 849312 w 1154113"/>
                  <a:gd name="connsiteY52" fmla="*/ 150202 h 963613"/>
                  <a:gd name="connsiteX53" fmla="*/ 849312 w 1154113"/>
                  <a:gd name="connsiteY53" fmla="*/ 101565 h 963613"/>
                  <a:gd name="connsiteX54" fmla="*/ 849312 w 1154113"/>
                  <a:gd name="connsiteY54" fmla="*/ 70095 h 963613"/>
                  <a:gd name="connsiteX55" fmla="*/ 849312 w 1154113"/>
                  <a:gd name="connsiteY55" fmla="*/ 7153 h 963613"/>
                  <a:gd name="connsiteX56" fmla="*/ 856425 w 1154113"/>
                  <a:gd name="connsiteY56" fmla="*/ 0 h 963613"/>
                  <a:gd name="connsiteX57" fmla="*/ 202375 w 1154113"/>
                  <a:gd name="connsiteY57" fmla="*/ 0 h 963613"/>
                  <a:gd name="connsiteX58" fmla="*/ 297687 w 1154113"/>
                  <a:gd name="connsiteY58" fmla="*/ 0 h 963613"/>
                  <a:gd name="connsiteX59" fmla="*/ 304800 w 1154113"/>
                  <a:gd name="connsiteY59" fmla="*/ 7153 h 963613"/>
                  <a:gd name="connsiteX60" fmla="*/ 304800 w 1154113"/>
                  <a:gd name="connsiteY60" fmla="*/ 70095 h 963613"/>
                  <a:gd name="connsiteX61" fmla="*/ 304800 w 1154113"/>
                  <a:gd name="connsiteY61" fmla="*/ 101565 h 963613"/>
                  <a:gd name="connsiteX62" fmla="*/ 304800 w 1154113"/>
                  <a:gd name="connsiteY62" fmla="*/ 150202 h 963613"/>
                  <a:gd name="connsiteX63" fmla="*/ 304800 w 1154113"/>
                  <a:gd name="connsiteY63" fmla="*/ 188111 h 963613"/>
                  <a:gd name="connsiteX64" fmla="*/ 297687 w 1154113"/>
                  <a:gd name="connsiteY64" fmla="*/ 195263 h 963613"/>
                  <a:gd name="connsiteX65" fmla="*/ 202375 w 1154113"/>
                  <a:gd name="connsiteY65" fmla="*/ 195263 h 963613"/>
                  <a:gd name="connsiteX66" fmla="*/ 195262 w 1154113"/>
                  <a:gd name="connsiteY66" fmla="*/ 188111 h 963613"/>
                  <a:gd name="connsiteX67" fmla="*/ 195262 w 1154113"/>
                  <a:gd name="connsiteY67" fmla="*/ 150202 h 963613"/>
                  <a:gd name="connsiteX68" fmla="*/ 195262 w 1154113"/>
                  <a:gd name="connsiteY68" fmla="*/ 101565 h 963613"/>
                  <a:gd name="connsiteX69" fmla="*/ 195262 w 1154113"/>
                  <a:gd name="connsiteY69" fmla="*/ 70095 h 963613"/>
                  <a:gd name="connsiteX70" fmla="*/ 195262 w 1154113"/>
                  <a:gd name="connsiteY70" fmla="*/ 7153 h 963613"/>
                  <a:gd name="connsiteX71" fmla="*/ 202375 w 1154113"/>
                  <a:gd name="connsiteY71" fmla="*/ 0 h 963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1154113" h="963613">
                    <a:moveTo>
                      <a:pt x="92866" y="150813"/>
                    </a:moveTo>
                    <a:cubicBezTo>
                      <a:pt x="92866" y="150813"/>
                      <a:pt x="92866" y="150813"/>
                      <a:pt x="163567" y="150813"/>
                    </a:cubicBezTo>
                    <a:lnTo>
                      <a:pt x="163567" y="211469"/>
                    </a:lnTo>
                    <a:cubicBezTo>
                      <a:pt x="163567" y="220032"/>
                      <a:pt x="170708" y="227168"/>
                      <a:pt x="179278" y="227168"/>
                    </a:cubicBezTo>
                    <a:cubicBezTo>
                      <a:pt x="179278" y="227168"/>
                      <a:pt x="179278" y="227168"/>
                      <a:pt x="320678" y="227168"/>
                    </a:cubicBezTo>
                    <a:cubicBezTo>
                      <a:pt x="329248" y="227168"/>
                      <a:pt x="336390" y="220032"/>
                      <a:pt x="336390" y="211469"/>
                    </a:cubicBezTo>
                    <a:cubicBezTo>
                      <a:pt x="336390" y="211469"/>
                      <a:pt x="336390" y="211469"/>
                      <a:pt x="336390" y="150813"/>
                    </a:cubicBezTo>
                    <a:cubicBezTo>
                      <a:pt x="336390" y="150813"/>
                      <a:pt x="336390" y="150813"/>
                      <a:pt x="817723" y="150813"/>
                    </a:cubicBezTo>
                    <a:cubicBezTo>
                      <a:pt x="817723" y="150813"/>
                      <a:pt x="817723" y="150813"/>
                      <a:pt x="817723" y="211469"/>
                    </a:cubicBezTo>
                    <a:cubicBezTo>
                      <a:pt x="817723" y="220032"/>
                      <a:pt x="824864" y="227168"/>
                      <a:pt x="833434" y="227168"/>
                    </a:cubicBezTo>
                    <a:cubicBezTo>
                      <a:pt x="833434" y="227168"/>
                      <a:pt x="833434" y="227168"/>
                      <a:pt x="974835" y="227168"/>
                    </a:cubicBezTo>
                    <a:cubicBezTo>
                      <a:pt x="983405" y="227168"/>
                      <a:pt x="990546" y="220032"/>
                      <a:pt x="990546" y="211469"/>
                    </a:cubicBezTo>
                    <a:cubicBezTo>
                      <a:pt x="990546" y="211469"/>
                      <a:pt x="990546" y="211469"/>
                      <a:pt x="990546" y="150813"/>
                    </a:cubicBezTo>
                    <a:cubicBezTo>
                      <a:pt x="990546" y="150813"/>
                      <a:pt x="990546" y="150813"/>
                      <a:pt x="1061247" y="150813"/>
                    </a:cubicBezTo>
                    <a:cubicBezTo>
                      <a:pt x="1065532" y="150813"/>
                      <a:pt x="1068388" y="154381"/>
                      <a:pt x="1068388" y="157949"/>
                    </a:cubicBezTo>
                    <a:cubicBezTo>
                      <a:pt x="1068388" y="157949"/>
                      <a:pt x="1068388" y="157949"/>
                      <a:pt x="1068388" y="362752"/>
                    </a:cubicBezTo>
                    <a:cubicBezTo>
                      <a:pt x="1068388" y="367034"/>
                      <a:pt x="1065532" y="369888"/>
                      <a:pt x="1061247" y="369888"/>
                    </a:cubicBezTo>
                    <a:cubicBezTo>
                      <a:pt x="1061247" y="369888"/>
                      <a:pt x="1061247" y="369888"/>
                      <a:pt x="92866" y="369888"/>
                    </a:cubicBezTo>
                    <a:cubicBezTo>
                      <a:pt x="88581" y="369888"/>
                      <a:pt x="85725" y="367034"/>
                      <a:pt x="85725" y="362752"/>
                    </a:cubicBezTo>
                    <a:cubicBezTo>
                      <a:pt x="85725" y="362752"/>
                      <a:pt x="85725" y="362752"/>
                      <a:pt x="85725" y="157949"/>
                    </a:cubicBezTo>
                    <a:cubicBezTo>
                      <a:pt x="85725" y="154381"/>
                      <a:pt x="88581" y="150813"/>
                      <a:pt x="92866" y="150813"/>
                    </a:cubicBezTo>
                    <a:close/>
                    <a:moveTo>
                      <a:pt x="336550" y="71438"/>
                    </a:moveTo>
                    <a:lnTo>
                      <a:pt x="817563" y="71438"/>
                    </a:lnTo>
                    <a:lnTo>
                      <a:pt x="817563" y="101601"/>
                    </a:lnTo>
                    <a:lnTo>
                      <a:pt x="336550" y="101601"/>
                    </a:lnTo>
                    <a:close/>
                    <a:moveTo>
                      <a:pt x="15712" y="71438"/>
                    </a:moveTo>
                    <a:cubicBezTo>
                      <a:pt x="15712" y="71438"/>
                      <a:pt x="15712" y="71438"/>
                      <a:pt x="163547" y="71438"/>
                    </a:cubicBezTo>
                    <a:cubicBezTo>
                      <a:pt x="163547" y="71438"/>
                      <a:pt x="163547" y="71438"/>
                      <a:pt x="163547" y="102843"/>
                    </a:cubicBezTo>
                    <a:cubicBezTo>
                      <a:pt x="163547" y="102843"/>
                      <a:pt x="163547" y="102843"/>
                      <a:pt x="31424" y="102843"/>
                    </a:cubicBezTo>
                    <a:cubicBezTo>
                      <a:pt x="31424" y="102843"/>
                      <a:pt x="31424" y="102843"/>
                      <a:pt x="31424" y="932209"/>
                    </a:cubicBezTo>
                    <a:cubicBezTo>
                      <a:pt x="31424" y="932209"/>
                      <a:pt x="31424" y="932209"/>
                      <a:pt x="1122689" y="932209"/>
                    </a:cubicBezTo>
                    <a:cubicBezTo>
                      <a:pt x="1122689" y="932209"/>
                      <a:pt x="1122689" y="932209"/>
                      <a:pt x="1122689" y="102843"/>
                    </a:cubicBezTo>
                    <a:cubicBezTo>
                      <a:pt x="1122689" y="102843"/>
                      <a:pt x="1122689" y="102843"/>
                      <a:pt x="990566" y="102843"/>
                    </a:cubicBezTo>
                    <a:cubicBezTo>
                      <a:pt x="990566" y="102843"/>
                      <a:pt x="990566" y="102843"/>
                      <a:pt x="990566" y="71438"/>
                    </a:cubicBezTo>
                    <a:cubicBezTo>
                      <a:pt x="990566" y="71438"/>
                      <a:pt x="990566" y="71438"/>
                      <a:pt x="1138401" y="71438"/>
                    </a:cubicBezTo>
                    <a:cubicBezTo>
                      <a:pt x="1146971" y="71438"/>
                      <a:pt x="1154113" y="78576"/>
                      <a:pt x="1154113" y="87140"/>
                    </a:cubicBezTo>
                    <a:cubicBezTo>
                      <a:pt x="1154113" y="87140"/>
                      <a:pt x="1154113" y="87140"/>
                      <a:pt x="1154113" y="947911"/>
                    </a:cubicBezTo>
                    <a:cubicBezTo>
                      <a:pt x="1154113" y="956476"/>
                      <a:pt x="1146971" y="963613"/>
                      <a:pt x="1138401" y="963613"/>
                    </a:cubicBezTo>
                    <a:cubicBezTo>
                      <a:pt x="1138401" y="963613"/>
                      <a:pt x="1138401" y="963613"/>
                      <a:pt x="15712" y="963613"/>
                    </a:cubicBezTo>
                    <a:cubicBezTo>
                      <a:pt x="7142" y="963613"/>
                      <a:pt x="0" y="956476"/>
                      <a:pt x="0" y="947911"/>
                    </a:cubicBezTo>
                    <a:cubicBezTo>
                      <a:pt x="0" y="947911"/>
                      <a:pt x="0" y="947911"/>
                      <a:pt x="0" y="87140"/>
                    </a:cubicBezTo>
                    <a:cubicBezTo>
                      <a:pt x="0" y="78576"/>
                      <a:pt x="7142" y="71438"/>
                      <a:pt x="15712" y="71438"/>
                    </a:cubicBezTo>
                    <a:close/>
                    <a:moveTo>
                      <a:pt x="856425" y="0"/>
                    </a:moveTo>
                    <a:cubicBezTo>
                      <a:pt x="856425" y="0"/>
                      <a:pt x="856425" y="0"/>
                      <a:pt x="951737" y="0"/>
                    </a:cubicBezTo>
                    <a:cubicBezTo>
                      <a:pt x="955294" y="0"/>
                      <a:pt x="958850" y="3576"/>
                      <a:pt x="958850" y="7153"/>
                    </a:cubicBezTo>
                    <a:cubicBezTo>
                      <a:pt x="958850" y="7153"/>
                      <a:pt x="958850" y="7153"/>
                      <a:pt x="958850" y="70095"/>
                    </a:cubicBezTo>
                    <a:cubicBezTo>
                      <a:pt x="958850" y="70095"/>
                      <a:pt x="958850" y="70095"/>
                      <a:pt x="958850" y="101565"/>
                    </a:cubicBezTo>
                    <a:cubicBezTo>
                      <a:pt x="958850" y="101565"/>
                      <a:pt x="958850" y="101565"/>
                      <a:pt x="958850" y="150202"/>
                    </a:cubicBezTo>
                    <a:cubicBezTo>
                      <a:pt x="958850" y="150202"/>
                      <a:pt x="958850" y="150202"/>
                      <a:pt x="958850" y="188111"/>
                    </a:cubicBezTo>
                    <a:cubicBezTo>
                      <a:pt x="958850" y="192402"/>
                      <a:pt x="955294" y="195263"/>
                      <a:pt x="951737" y="195263"/>
                    </a:cubicBezTo>
                    <a:cubicBezTo>
                      <a:pt x="951737" y="195263"/>
                      <a:pt x="951737" y="195263"/>
                      <a:pt x="856425" y="195263"/>
                    </a:cubicBezTo>
                    <a:cubicBezTo>
                      <a:pt x="852869" y="195263"/>
                      <a:pt x="849312" y="192402"/>
                      <a:pt x="849312" y="188111"/>
                    </a:cubicBezTo>
                    <a:cubicBezTo>
                      <a:pt x="849312" y="188111"/>
                      <a:pt x="849312" y="188111"/>
                      <a:pt x="849312" y="150202"/>
                    </a:cubicBezTo>
                    <a:cubicBezTo>
                      <a:pt x="849312" y="150202"/>
                      <a:pt x="849312" y="150202"/>
                      <a:pt x="849312" y="101565"/>
                    </a:cubicBezTo>
                    <a:cubicBezTo>
                      <a:pt x="849312" y="101565"/>
                      <a:pt x="849312" y="101565"/>
                      <a:pt x="849312" y="70095"/>
                    </a:cubicBezTo>
                    <a:cubicBezTo>
                      <a:pt x="849312" y="70095"/>
                      <a:pt x="849312" y="70095"/>
                      <a:pt x="849312" y="7153"/>
                    </a:cubicBezTo>
                    <a:cubicBezTo>
                      <a:pt x="849312" y="3576"/>
                      <a:pt x="852869" y="0"/>
                      <a:pt x="856425" y="0"/>
                    </a:cubicBezTo>
                    <a:close/>
                    <a:moveTo>
                      <a:pt x="202375" y="0"/>
                    </a:moveTo>
                    <a:cubicBezTo>
                      <a:pt x="202375" y="0"/>
                      <a:pt x="202375" y="0"/>
                      <a:pt x="297687" y="0"/>
                    </a:cubicBezTo>
                    <a:cubicBezTo>
                      <a:pt x="301243" y="0"/>
                      <a:pt x="304800" y="3576"/>
                      <a:pt x="304800" y="7153"/>
                    </a:cubicBezTo>
                    <a:cubicBezTo>
                      <a:pt x="304800" y="7153"/>
                      <a:pt x="304800" y="7153"/>
                      <a:pt x="304800" y="70095"/>
                    </a:cubicBezTo>
                    <a:cubicBezTo>
                      <a:pt x="304800" y="70095"/>
                      <a:pt x="304800" y="70095"/>
                      <a:pt x="304800" y="101565"/>
                    </a:cubicBezTo>
                    <a:cubicBezTo>
                      <a:pt x="304800" y="101565"/>
                      <a:pt x="304800" y="101565"/>
                      <a:pt x="304800" y="150202"/>
                    </a:cubicBezTo>
                    <a:cubicBezTo>
                      <a:pt x="304800" y="150202"/>
                      <a:pt x="304800" y="150202"/>
                      <a:pt x="304800" y="188111"/>
                    </a:cubicBezTo>
                    <a:cubicBezTo>
                      <a:pt x="304800" y="192402"/>
                      <a:pt x="301243" y="195263"/>
                      <a:pt x="297687" y="195263"/>
                    </a:cubicBezTo>
                    <a:cubicBezTo>
                      <a:pt x="297687" y="195263"/>
                      <a:pt x="297687" y="195263"/>
                      <a:pt x="202375" y="195263"/>
                    </a:cubicBezTo>
                    <a:cubicBezTo>
                      <a:pt x="198818" y="195263"/>
                      <a:pt x="195262" y="192402"/>
                      <a:pt x="195262" y="188111"/>
                    </a:cubicBezTo>
                    <a:cubicBezTo>
                      <a:pt x="195262" y="188111"/>
                      <a:pt x="195262" y="188111"/>
                      <a:pt x="195262" y="150202"/>
                    </a:cubicBezTo>
                    <a:cubicBezTo>
                      <a:pt x="195262" y="150202"/>
                      <a:pt x="195262" y="150202"/>
                      <a:pt x="195262" y="101565"/>
                    </a:cubicBezTo>
                    <a:cubicBezTo>
                      <a:pt x="195262" y="101565"/>
                      <a:pt x="195262" y="101565"/>
                      <a:pt x="195262" y="70095"/>
                    </a:cubicBezTo>
                    <a:cubicBezTo>
                      <a:pt x="195262" y="70095"/>
                      <a:pt x="195262" y="70095"/>
                      <a:pt x="195262" y="7153"/>
                    </a:cubicBezTo>
                    <a:cubicBezTo>
                      <a:pt x="195262" y="3576"/>
                      <a:pt x="198818" y="0"/>
                      <a:pt x="202375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1965315" y="3210507"/>
            <a:ext cx="803634" cy="804378"/>
            <a:chOff x="5273801" y="2606040"/>
            <a:chExt cx="1644396" cy="1645920"/>
          </a:xfrm>
        </p:grpSpPr>
        <p:sp>
          <p:nvSpPr>
            <p:cNvPr id="21" name="AutoShape 23">
              <a:extLst>
                <a:ext uri="{FF2B5EF4-FFF2-40B4-BE49-F238E27FC236}">
                  <a16:creationId xmlns:a16="http://schemas.microsoft.com/office/drawing/2014/main" id="{21145B1E-CDCB-4DD6-B1E9-AD669D7521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5343905" y="2928366"/>
              <a:ext cx="1505712" cy="995553"/>
              <a:chOff x="5343905" y="2928366"/>
              <a:chExt cx="1505712" cy="995553"/>
            </a:xfrm>
          </p:grpSpPr>
          <p:sp>
            <p:nvSpPr>
              <p:cNvPr id="24" name="Freeform 25">
                <a:extLst>
                  <a:ext uri="{FF2B5EF4-FFF2-40B4-BE49-F238E27FC236}">
                    <a16:creationId xmlns:a16="http://schemas.microsoft.com/office/drawing/2014/main" id="{9F947C49-F917-4AD1-B35C-097F99CCE4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6330" y="2928366"/>
                <a:ext cx="1153287" cy="654177"/>
              </a:xfrm>
              <a:custGeom>
                <a:avLst/>
                <a:gdLst>
                  <a:gd name="T0" fmla="*/ 1610 w 1616"/>
                  <a:gd name="T1" fmla="*/ 362 h 916"/>
                  <a:gd name="T2" fmla="*/ 1552 w 1616"/>
                  <a:gd name="T3" fmla="*/ 327 h 916"/>
                  <a:gd name="T4" fmla="*/ 1530 w 1616"/>
                  <a:gd name="T5" fmla="*/ 261 h 916"/>
                  <a:gd name="T6" fmla="*/ 1495 w 1616"/>
                  <a:gd name="T7" fmla="*/ 196 h 916"/>
                  <a:gd name="T8" fmla="*/ 1508 w 1616"/>
                  <a:gd name="T9" fmla="*/ 130 h 916"/>
                  <a:gd name="T10" fmla="*/ 1369 w 1616"/>
                  <a:gd name="T11" fmla="*/ 28 h 916"/>
                  <a:gd name="T12" fmla="*/ 1309 w 1616"/>
                  <a:gd name="T13" fmla="*/ 62 h 916"/>
                  <a:gd name="T14" fmla="*/ 1178 w 1616"/>
                  <a:gd name="T15" fmla="*/ 47 h 916"/>
                  <a:gd name="T16" fmla="*/ 1127 w 1616"/>
                  <a:gd name="T17" fmla="*/ 0 h 916"/>
                  <a:gd name="T18" fmla="*/ 1043 w 1616"/>
                  <a:gd name="T19" fmla="*/ 26 h 916"/>
                  <a:gd name="T20" fmla="*/ 967 w 1616"/>
                  <a:gd name="T21" fmla="*/ 69 h 916"/>
                  <a:gd name="T22" fmla="*/ 967 w 1616"/>
                  <a:gd name="T23" fmla="*/ 140 h 916"/>
                  <a:gd name="T24" fmla="*/ 886 w 1616"/>
                  <a:gd name="T25" fmla="*/ 246 h 916"/>
                  <a:gd name="T26" fmla="*/ 821 w 1616"/>
                  <a:gd name="T27" fmla="*/ 267 h 916"/>
                  <a:gd name="T28" fmla="*/ 798 w 1616"/>
                  <a:gd name="T29" fmla="*/ 441 h 916"/>
                  <a:gd name="T30" fmla="*/ 856 w 1616"/>
                  <a:gd name="T31" fmla="*/ 475 h 916"/>
                  <a:gd name="T32" fmla="*/ 879 w 1616"/>
                  <a:gd name="T33" fmla="*/ 546 h 916"/>
                  <a:gd name="T34" fmla="*/ 912 w 1616"/>
                  <a:gd name="T35" fmla="*/ 607 h 916"/>
                  <a:gd name="T36" fmla="*/ 896 w 1616"/>
                  <a:gd name="T37" fmla="*/ 673 h 916"/>
                  <a:gd name="T38" fmla="*/ 1031 w 1616"/>
                  <a:gd name="T39" fmla="*/ 777 h 916"/>
                  <a:gd name="T40" fmla="*/ 1089 w 1616"/>
                  <a:gd name="T41" fmla="*/ 743 h 916"/>
                  <a:gd name="T42" fmla="*/ 1236 w 1616"/>
                  <a:gd name="T43" fmla="*/ 762 h 916"/>
                  <a:gd name="T44" fmla="*/ 1287 w 1616"/>
                  <a:gd name="T45" fmla="*/ 808 h 916"/>
                  <a:gd name="T46" fmla="*/ 1366 w 1616"/>
                  <a:gd name="T47" fmla="*/ 783 h 916"/>
                  <a:gd name="T48" fmla="*/ 1440 w 1616"/>
                  <a:gd name="T49" fmla="*/ 741 h 916"/>
                  <a:gd name="T50" fmla="*/ 1440 w 1616"/>
                  <a:gd name="T51" fmla="*/ 673 h 916"/>
                  <a:gd name="T52" fmla="*/ 1528 w 1616"/>
                  <a:gd name="T53" fmla="*/ 552 h 916"/>
                  <a:gd name="T54" fmla="*/ 1591 w 1616"/>
                  <a:gd name="T55" fmla="*/ 532 h 916"/>
                  <a:gd name="T56" fmla="*/ 1610 w 1616"/>
                  <a:gd name="T57" fmla="*/ 362 h 916"/>
                  <a:gd name="T58" fmla="*/ 1276 w 1616"/>
                  <a:gd name="T59" fmla="*/ 569 h 916"/>
                  <a:gd name="T60" fmla="*/ 1041 w 1616"/>
                  <a:gd name="T61" fmla="*/ 475 h 916"/>
                  <a:gd name="T62" fmla="*/ 1133 w 1616"/>
                  <a:gd name="T63" fmla="*/ 239 h 916"/>
                  <a:gd name="T64" fmla="*/ 1367 w 1616"/>
                  <a:gd name="T65" fmla="*/ 333 h 916"/>
                  <a:gd name="T66" fmla="*/ 1276 w 1616"/>
                  <a:gd name="T67" fmla="*/ 569 h 916"/>
                  <a:gd name="T68" fmla="*/ 187 w 1616"/>
                  <a:gd name="T69" fmla="*/ 916 h 916"/>
                  <a:gd name="T70" fmla="*/ 0 w 1616"/>
                  <a:gd name="T71" fmla="*/ 729 h 916"/>
                  <a:gd name="T72" fmla="*/ 187 w 1616"/>
                  <a:gd name="T73" fmla="*/ 541 h 916"/>
                  <a:gd name="T74" fmla="*/ 375 w 1616"/>
                  <a:gd name="T75" fmla="*/ 729 h 916"/>
                  <a:gd name="T76" fmla="*/ 187 w 1616"/>
                  <a:gd name="T77" fmla="*/ 916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16" h="916">
                    <a:moveTo>
                      <a:pt x="1610" y="362"/>
                    </a:moveTo>
                    <a:cubicBezTo>
                      <a:pt x="1552" y="327"/>
                      <a:pt x="1552" y="327"/>
                      <a:pt x="1552" y="327"/>
                    </a:cubicBezTo>
                    <a:cubicBezTo>
                      <a:pt x="1547" y="305"/>
                      <a:pt x="1539" y="283"/>
                      <a:pt x="1530" y="261"/>
                    </a:cubicBezTo>
                    <a:cubicBezTo>
                      <a:pt x="1521" y="239"/>
                      <a:pt x="1508" y="217"/>
                      <a:pt x="1495" y="196"/>
                    </a:cubicBezTo>
                    <a:cubicBezTo>
                      <a:pt x="1508" y="130"/>
                      <a:pt x="1508" y="130"/>
                      <a:pt x="1508" y="130"/>
                    </a:cubicBezTo>
                    <a:cubicBezTo>
                      <a:pt x="1470" y="87"/>
                      <a:pt x="1421" y="51"/>
                      <a:pt x="1369" y="28"/>
                    </a:cubicBezTo>
                    <a:cubicBezTo>
                      <a:pt x="1309" y="62"/>
                      <a:pt x="1309" y="62"/>
                      <a:pt x="1309" y="62"/>
                    </a:cubicBezTo>
                    <a:cubicBezTo>
                      <a:pt x="1266" y="48"/>
                      <a:pt x="1223" y="43"/>
                      <a:pt x="1178" y="47"/>
                    </a:cubicBezTo>
                    <a:cubicBezTo>
                      <a:pt x="1127" y="0"/>
                      <a:pt x="1127" y="0"/>
                      <a:pt x="1127" y="0"/>
                    </a:cubicBezTo>
                    <a:cubicBezTo>
                      <a:pt x="1099" y="6"/>
                      <a:pt x="1071" y="13"/>
                      <a:pt x="1043" y="26"/>
                    </a:cubicBezTo>
                    <a:cubicBezTo>
                      <a:pt x="1016" y="38"/>
                      <a:pt x="989" y="53"/>
                      <a:pt x="967" y="69"/>
                    </a:cubicBezTo>
                    <a:cubicBezTo>
                      <a:pt x="967" y="140"/>
                      <a:pt x="967" y="140"/>
                      <a:pt x="967" y="140"/>
                    </a:cubicBezTo>
                    <a:cubicBezTo>
                      <a:pt x="933" y="171"/>
                      <a:pt x="905" y="206"/>
                      <a:pt x="886" y="246"/>
                    </a:cubicBezTo>
                    <a:cubicBezTo>
                      <a:pt x="821" y="267"/>
                      <a:pt x="821" y="267"/>
                      <a:pt x="821" y="267"/>
                    </a:cubicBezTo>
                    <a:cubicBezTo>
                      <a:pt x="801" y="321"/>
                      <a:pt x="794" y="380"/>
                      <a:pt x="798" y="441"/>
                    </a:cubicBezTo>
                    <a:cubicBezTo>
                      <a:pt x="856" y="475"/>
                      <a:pt x="856" y="475"/>
                      <a:pt x="856" y="475"/>
                    </a:cubicBezTo>
                    <a:cubicBezTo>
                      <a:pt x="861" y="498"/>
                      <a:pt x="868" y="523"/>
                      <a:pt x="879" y="546"/>
                    </a:cubicBezTo>
                    <a:cubicBezTo>
                      <a:pt x="889" y="567"/>
                      <a:pt x="899" y="588"/>
                      <a:pt x="912" y="607"/>
                    </a:cubicBezTo>
                    <a:cubicBezTo>
                      <a:pt x="896" y="673"/>
                      <a:pt x="896" y="673"/>
                      <a:pt x="896" y="673"/>
                    </a:cubicBezTo>
                    <a:cubicBezTo>
                      <a:pt x="934" y="718"/>
                      <a:pt x="980" y="752"/>
                      <a:pt x="1031" y="777"/>
                    </a:cubicBezTo>
                    <a:cubicBezTo>
                      <a:pt x="1089" y="743"/>
                      <a:pt x="1089" y="743"/>
                      <a:pt x="1089" y="743"/>
                    </a:cubicBezTo>
                    <a:cubicBezTo>
                      <a:pt x="1136" y="760"/>
                      <a:pt x="1185" y="766"/>
                      <a:pt x="1236" y="762"/>
                    </a:cubicBezTo>
                    <a:cubicBezTo>
                      <a:pt x="1287" y="808"/>
                      <a:pt x="1287" y="808"/>
                      <a:pt x="1287" y="808"/>
                    </a:cubicBezTo>
                    <a:cubicBezTo>
                      <a:pt x="1312" y="802"/>
                      <a:pt x="1340" y="794"/>
                      <a:pt x="1366" y="783"/>
                    </a:cubicBezTo>
                    <a:cubicBezTo>
                      <a:pt x="1392" y="771"/>
                      <a:pt x="1416" y="757"/>
                      <a:pt x="1440" y="741"/>
                    </a:cubicBezTo>
                    <a:cubicBezTo>
                      <a:pt x="1440" y="673"/>
                      <a:pt x="1440" y="673"/>
                      <a:pt x="1440" y="673"/>
                    </a:cubicBezTo>
                    <a:cubicBezTo>
                      <a:pt x="1477" y="639"/>
                      <a:pt x="1507" y="597"/>
                      <a:pt x="1528" y="552"/>
                    </a:cubicBezTo>
                    <a:cubicBezTo>
                      <a:pt x="1591" y="532"/>
                      <a:pt x="1591" y="532"/>
                      <a:pt x="1591" y="532"/>
                    </a:cubicBezTo>
                    <a:cubicBezTo>
                      <a:pt x="1610" y="479"/>
                      <a:pt x="1616" y="420"/>
                      <a:pt x="1610" y="362"/>
                    </a:cubicBezTo>
                    <a:close/>
                    <a:moveTo>
                      <a:pt x="1276" y="569"/>
                    </a:moveTo>
                    <a:cubicBezTo>
                      <a:pt x="1185" y="610"/>
                      <a:pt x="1080" y="566"/>
                      <a:pt x="1041" y="475"/>
                    </a:cubicBezTo>
                    <a:cubicBezTo>
                      <a:pt x="1002" y="383"/>
                      <a:pt x="1043" y="278"/>
                      <a:pt x="1133" y="239"/>
                    </a:cubicBezTo>
                    <a:cubicBezTo>
                      <a:pt x="1224" y="199"/>
                      <a:pt x="1330" y="242"/>
                      <a:pt x="1367" y="333"/>
                    </a:cubicBezTo>
                    <a:cubicBezTo>
                      <a:pt x="1407" y="424"/>
                      <a:pt x="1366" y="531"/>
                      <a:pt x="1276" y="569"/>
                    </a:cubicBezTo>
                    <a:close/>
                    <a:moveTo>
                      <a:pt x="187" y="916"/>
                    </a:moveTo>
                    <a:cubicBezTo>
                      <a:pt x="84" y="916"/>
                      <a:pt x="0" y="832"/>
                      <a:pt x="0" y="729"/>
                    </a:cubicBezTo>
                    <a:cubicBezTo>
                      <a:pt x="0" y="625"/>
                      <a:pt x="84" y="541"/>
                      <a:pt x="187" y="541"/>
                    </a:cubicBezTo>
                    <a:cubicBezTo>
                      <a:pt x="291" y="541"/>
                      <a:pt x="375" y="625"/>
                      <a:pt x="375" y="729"/>
                    </a:cubicBezTo>
                    <a:cubicBezTo>
                      <a:pt x="375" y="832"/>
                      <a:pt x="291" y="916"/>
                      <a:pt x="187" y="916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E2588303-321C-498F-B014-B990AEEA7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905" y="2961132"/>
                <a:ext cx="971931" cy="962787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  <a:gd name="T86" fmla="*/ 681 w 1362"/>
                  <a:gd name="T87" fmla="*/ 257 h 1348"/>
                  <a:gd name="T88" fmla="*/ 681 w 1362"/>
                  <a:gd name="T89" fmla="*/ 301 h 1348"/>
                  <a:gd name="T90" fmla="*/ 1063 w 1362"/>
                  <a:gd name="T91" fmla="*/ 683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  <a:moveTo>
                      <a:pt x="681" y="1108"/>
                    </a:moveTo>
                    <a:cubicBezTo>
                      <a:pt x="447" y="1108"/>
                      <a:pt x="256" y="917"/>
                      <a:pt x="256" y="683"/>
                    </a:cubicBezTo>
                    <a:cubicBezTo>
                      <a:pt x="256" y="448"/>
                      <a:pt x="447" y="257"/>
                      <a:pt x="681" y="257"/>
                    </a:cubicBezTo>
                    <a:cubicBezTo>
                      <a:pt x="916" y="257"/>
                      <a:pt x="1107" y="448"/>
                      <a:pt x="1107" y="683"/>
                    </a:cubicBezTo>
                    <a:cubicBezTo>
                      <a:pt x="1107" y="917"/>
                      <a:pt x="916" y="1108"/>
                      <a:pt x="681" y="1108"/>
                    </a:cubicBezTo>
                    <a:close/>
                    <a:moveTo>
                      <a:pt x="681" y="301"/>
                    </a:moveTo>
                    <a:cubicBezTo>
                      <a:pt x="471" y="301"/>
                      <a:pt x="300" y="473"/>
                      <a:pt x="300" y="683"/>
                    </a:cubicBezTo>
                    <a:cubicBezTo>
                      <a:pt x="300" y="893"/>
                      <a:pt x="471" y="1064"/>
                      <a:pt x="681" y="1064"/>
                    </a:cubicBezTo>
                    <a:cubicBezTo>
                      <a:pt x="892" y="1064"/>
                      <a:pt x="1063" y="893"/>
                      <a:pt x="1063" y="683"/>
                    </a:cubicBezTo>
                    <a:cubicBezTo>
                      <a:pt x="1063" y="473"/>
                      <a:pt x="892" y="301"/>
                      <a:pt x="681" y="301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1965315" y="4744743"/>
            <a:ext cx="804378" cy="804378"/>
            <a:chOff x="5273675" y="2606675"/>
            <a:chExt cx="1644650" cy="1644650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445125" y="3138488"/>
              <a:ext cx="1301750" cy="581025"/>
              <a:chOff x="5445125" y="3138488"/>
              <a:chExt cx="1301750" cy="581025"/>
            </a:xfrm>
          </p:grpSpPr>
          <p:sp>
            <p:nvSpPr>
              <p:cNvPr id="35" name="Freeform 34"/>
              <p:cNvSpPr>
                <a:spLocks/>
              </p:cNvSpPr>
              <p:nvPr/>
            </p:nvSpPr>
            <p:spPr bwMode="auto">
              <a:xfrm>
                <a:off x="5445125" y="3138488"/>
                <a:ext cx="1301750" cy="581025"/>
              </a:xfrm>
              <a:custGeom>
                <a:avLst/>
                <a:gdLst>
                  <a:gd name="connsiteX0" fmla="*/ 904710 w 1301750"/>
                  <a:gd name="connsiteY0" fmla="*/ 406400 h 581025"/>
                  <a:gd name="connsiteX1" fmla="*/ 1063241 w 1301750"/>
                  <a:gd name="connsiteY1" fmla="*/ 406400 h 581025"/>
                  <a:gd name="connsiteX2" fmla="*/ 1286040 w 1301750"/>
                  <a:gd name="connsiteY2" fmla="*/ 406400 h 581025"/>
                  <a:gd name="connsiteX3" fmla="*/ 1301750 w 1301750"/>
                  <a:gd name="connsiteY3" fmla="*/ 422210 h 581025"/>
                  <a:gd name="connsiteX4" fmla="*/ 1301750 w 1301750"/>
                  <a:gd name="connsiteY4" fmla="*/ 565215 h 581025"/>
                  <a:gd name="connsiteX5" fmla="*/ 1286040 w 1301750"/>
                  <a:gd name="connsiteY5" fmla="*/ 581025 h 581025"/>
                  <a:gd name="connsiteX6" fmla="*/ 904710 w 1301750"/>
                  <a:gd name="connsiteY6" fmla="*/ 581025 h 581025"/>
                  <a:gd name="connsiteX7" fmla="*/ 889000 w 1301750"/>
                  <a:gd name="connsiteY7" fmla="*/ 565215 h 581025"/>
                  <a:gd name="connsiteX8" fmla="*/ 889000 w 1301750"/>
                  <a:gd name="connsiteY8" fmla="*/ 422210 h 581025"/>
                  <a:gd name="connsiteX9" fmla="*/ 904710 w 1301750"/>
                  <a:gd name="connsiteY9" fmla="*/ 406400 h 581025"/>
                  <a:gd name="connsiteX10" fmla="*/ 460210 w 1301750"/>
                  <a:gd name="connsiteY10" fmla="*/ 406400 h 581025"/>
                  <a:gd name="connsiteX11" fmla="*/ 619455 w 1301750"/>
                  <a:gd name="connsiteY11" fmla="*/ 406400 h 581025"/>
                  <a:gd name="connsiteX12" fmla="*/ 682296 w 1301750"/>
                  <a:gd name="connsiteY12" fmla="*/ 406400 h 581025"/>
                  <a:gd name="connsiteX13" fmla="*/ 841540 w 1301750"/>
                  <a:gd name="connsiteY13" fmla="*/ 406400 h 581025"/>
                  <a:gd name="connsiteX14" fmla="*/ 857250 w 1301750"/>
                  <a:gd name="connsiteY14" fmla="*/ 422210 h 581025"/>
                  <a:gd name="connsiteX15" fmla="*/ 857250 w 1301750"/>
                  <a:gd name="connsiteY15" fmla="*/ 565215 h 581025"/>
                  <a:gd name="connsiteX16" fmla="*/ 841540 w 1301750"/>
                  <a:gd name="connsiteY16" fmla="*/ 581025 h 581025"/>
                  <a:gd name="connsiteX17" fmla="*/ 460210 w 1301750"/>
                  <a:gd name="connsiteY17" fmla="*/ 581025 h 581025"/>
                  <a:gd name="connsiteX18" fmla="*/ 444500 w 1301750"/>
                  <a:gd name="connsiteY18" fmla="*/ 565215 h 581025"/>
                  <a:gd name="connsiteX19" fmla="*/ 444500 w 1301750"/>
                  <a:gd name="connsiteY19" fmla="*/ 422210 h 581025"/>
                  <a:gd name="connsiteX20" fmla="*/ 460210 w 1301750"/>
                  <a:gd name="connsiteY20" fmla="*/ 406400 h 581025"/>
                  <a:gd name="connsiteX21" fmla="*/ 15710 w 1301750"/>
                  <a:gd name="connsiteY21" fmla="*/ 406400 h 581025"/>
                  <a:gd name="connsiteX22" fmla="*/ 237796 w 1301750"/>
                  <a:gd name="connsiteY22" fmla="*/ 406400 h 581025"/>
                  <a:gd name="connsiteX23" fmla="*/ 397040 w 1301750"/>
                  <a:gd name="connsiteY23" fmla="*/ 406400 h 581025"/>
                  <a:gd name="connsiteX24" fmla="*/ 412750 w 1301750"/>
                  <a:gd name="connsiteY24" fmla="*/ 422210 h 581025"/>
                  <a:gd name="connsiteX25" fmla="*/ 412750 w 1301750"/>
                  <a:gd name="connsiteY25" fmla="*/ 565215 h 581025"/>
                  <a:gd name="connsiteX26" fmla="*/ 397040 w 1301750"/>
                  <a:gd name="connsiteY26" fmla="*/ 581025 h 581025"/>
                  <a:gd name="connsiteX27" fmla="*/ 15710 w 1301750"/>
                  <a:gd name="connsiteY27" fmla="*/ 581025 h 581025"/>
                  <a:gd name="connsiteX28" fmla="*/ 0 w 1301750"/>
                  <a:gd name="connsiteY28" fmla="*/ 565215 h 581025"/>
                  <a:gd name="connsiteX29" fmla="*/ 0 w 1301750"/>
                  <a:gd name="connsiteY29" fmla="*/ 422210 h 581025"/>
                  <a:gd name="connsiteX30" fmla="*/ 15710 w 1301750"/>
                  <a:gd name="connsiteY30" fmla="*/ 406400 h 581025"/>
                  <a:gd name="connsiteX31" fmla="*/ 460210 w 1301750"/>
                  <a:gd name="connsiteY31" fmla="*/ 0 h 581025"/>
                  <a:gd name="connsiteX32" fmla="*/ 841540 w 1301750"/>
                  <a:gd name="connsiteY32" fmla="*/ 0 h 581025"/>
                  <a:gd name="connsiteX33" fmla="*/ 857250 w 1301750"/>
                  <a:gd name="connsiteY33" fmla="*/ 15666 h 581025"/>
                  <a:gd name="connsiteX34" fmla="*/ 857250 w 1301750"/>
                  <a:gd name="connsiteY34" fmla="*/ 157372 h 581025"/>
                  <a:gd name="connsiteX35" fmla="*/ 841540 w 1301750"/>
                  <a:gd name="connsiteY35" fmla="*/ 173038 h 581025"/>
                  <a:gd name="connsiteX36" fmla="*/ 682296 w 1301750"/>
                  <a:gd name="connsiteY36" fmla="*/ 173038 h 581025"/>
                  <a:gd name="connsiteX37" fmla="*/ 619455 w 1301750"/>
                  <a:gd name="connsiteY37" fmla="*/ 173038 h 581025"/>
                  <a:gd name="connsiteX38" fmla="*/ 460210 w 1301750"/>
                  <a:gd name="connsiteY38" fmla="*/ 173038 h 581025"/>
                  <a:gd name="connsiteX39" fmla="*/ 444500 w 1301750"/>
                  <a:gd name="connsiteY39" fmla="*/ 157372 h 581025"/>
                  <a:gd name="connsiteX40" fmla="*/ 444500 w 1301750"/>
                  <a:gd name="connsiteY40" fmla="*/ 15666 h 581025"/>
                  <a:gd name="connsiteX41" fmla="*/ 460210 w 1301750"/>
                  <a:gd name="connsiteY41" fmla="*/ 0 h 58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01750" h="581025">
                    <a:moveTo>
                      <a:pt x="904710" y="406400"/>
                    </a:moveTo>
                    <a:cubicBezTo>
                      <a:pt x="904710" y="406400"/>
                      <a:pt x="904710" y="406400"/>
                      <a:pt x="1063241" y="406400"/>
                    </a:cubicBezTo>
                    <a:cubicBezTo>
                      <a:pt x="1063241" y="406400"/>
                      <a:pt x="1063241" y="406400"/>
                      <a:pt x="1286040" y="406400"/>
                    </a:cubicBezTo>
                    <a:cubicBezTo>
                      <a:pt x="1294609" y="406400"/>
                      <a:pt x="1301750" y="413586"/>
                      <a:pt x="1301750" y="422210"/>
                    </a:cubicBezTo>
                    <a:cubicBezTo>
                      <a:pt x="1301750" y="422210"/>
                      <a:pt x="1301750" y="422210"/>
                      <a:pt x="1301750" y="565215"/>
                    </a:cubicBezTo>
                    <a:cubicBezTo>
                      <a:pt x="1301750" y="573839"/>
                      <a:pt x="1294609" y="581025"/>
                      <a:pt x="1286040" y="581025"/>
                    </a:cubicBezTo>
                    <a:cubicBezTo>
                      <a:pt x="1286040" y="581025"/>
                      <a:pt x="1286040" y="581025"/>
                      <a:pt x="904710" y="581025"/>
                    </a:cubicBezTo>
                    <a:cubicBezTo>
                      <a:pt x="896141" y="581025"/>
                      <a:pt x="889000" y="573839"/>
                      <a:pt x="889000" y="565215"/>
                    </a:cubicBezTo>
                    <a:cubicBezTo>
                      <a:pt x="889000" y="565215"/>
                      <a:pt x="889000" y="565215"/>
                      <a:pt x="889000" y="422210"/>
                    </a:cubicBezTo>
                    <a:cubicBezTo>
                      <a:pt x="889000" y="413586"/>
                      <a:pt x="896141" y="406400"/>
                      <a:pt x="904710" y="406400"/>
                    </a:cubicBezTo>
                    <a:close/>
                    <a:moveTo>
                      <a:pt x="460210" y="406400"/>
                    </a:moveTo>
                    <a:cubicBezTo>
                      <a:pt x="460210" y="406400"/>
                      <a:pt x="460210" y="406400"/>
                      <a:pt x="619455" y="406400"/>
                    </a:cubicBezTo>
                    <a:cubicBezTo>
                      <a:pt x="619455" y="406400"/>
                      <a:pt x="619455" y="406400"/>
                      <a:pt x="682296" y="406400"/>
                    </a:cubicBezTo>
                    <a:cubicBezTo>
                      <a:pt x="682296" y="406400"/>
                      <a:pt x="682296" y="406400"/>
                      <a:pt x="841540" y="406400"/>
                    </a:cubicBezTo>
                    <a:cubicBezTo>
                      <a:pt x="850109" y="406400"/>
                      <a:pt x="857250" y="413586"/>
                      <a:pt x="857250" y="422210"/>
                    </a:cubicBezTo>
                    <a:cubicBezTo>
                      <a:pt x="857250" y="422210"/>
                      <a:pt x="857250" y="422210"/>
                      <a:pt x="857250" y="565215"/>
                    </a:cubicBezTo>
                    <a:cubicBezTo>
                      <a:pt x="857250" y="573839"/>
                      <a:pt x="850109" y="581025"/>
                      <a:pt x="841540" y="581025"/>
                    </a:cubicBezTo>
                    <a:cubicBezTo>
                      <a:pt x="841540" y="581025"/>
                      <a:pt x="841540" y="581025"/>
                      <a:pt x="460210" y="581025"/>
                    </a:cubicBezTo>
                    <a:cubicBezTo>
                      <a:pt x="451641" y="581025"/>
                      <a:pt x="444500" y="573839"/>
                      <a:pt x="444500" y="565215"/>
                    </a:cubicBezTo>
                    <a:cubicBezTo>
                      <a:pt x="444500" y="565215"/>
                      <a:pt x="444500" y="565215"/>
                      <a:pt x="444500" y="422210"/>
                    </a:cubicBezTo>
                    <a:cubicBezTo>
                      <a:pt x="444500" y="413586"/>
                      <a:pt x="451641" y="406400"/>
                      <a:pt x="460210" y="406400"/>
                    </a:cubicBezTo>
                    <a:close/>
                    <a:moveTo>
                      <a:pt x="15710" y="406400"/>
                    </a:moveTo>
                    <a:cubicBezTo>
                      <a:pt x="15710" y="406400"/>
                      <a:pt x="15710" y="406400"/>
                      <a:pt x="237796" y="406400"/>
                    </a:cubicBezTo>
                    <a:cubicBezTo>
                      <a:pt x="237796" y="406400"/>
                      <a:pt x="237796" y="406400"/>
                      <a:pt x="397040" y="406400"/>
                    </a:cubicBezTo>
                    <a:cubicBezTo>
                      <a:pt x="405609" y="406400"/>
                      <a:pt x="412750" y="413586"/>
                      <a:pt x="412750" y="422210"/>
                    </a:cubicBezTo>
                    <a:cubicBezTo>
                      <a:pt x="412750" y="422210"/>
                      <a:pt x="412750" y="422210"/>
                      <a:pt x="412750" y="565215"/>
                    </a:cubicBezTo>
                    <a:cubicBezTo>
                      <a:pt x="412750" y="573839"/>
                      <a:pt x="405609" y="581025"/>
                      <a:pt x="397040" y="581025"/>
                    </a:cubicBezTo>
                    <a:cubicBezTo>
                      <a:pt x="397040" y="581025"/>
                      <a:pt x="397040" y="581025"/>
                      <a:pt x="15710" y="581025"/>
                    </a:cubicBezTo>
                    <a:cubicBezTo>
                      <a:pt x="7141" y="581025"/>
                      <a:pt x="0" y="573839"/>
                      <a:pt x="0" y="565215"/>
                    </a:cubicBezTo>
                    <a:cubicBezTo>
                      <a:pt x="0" y="565215"/>
                      <a:pt x="0" y="565215"/>
                      <a:pt x="0" y="422210"/>
                    </a:cubicBezTo>
                    <a:cubicBezTo>
                      <a:pt x="0" y="413586"/>
                      <a:pt x="7141" y="406400"/>
                      <a:pt x="15710" y="406400"/>
                    </a:cubicBezTo>
                    <a:close/>
                    <a:moveTo>
                      <a:pt x="460210" y="0"/>
                    </a:moveTo>
                    <a:cubicBezTo>
                      <a:pt x="460210" y="0"/>
                      <a:pt x="460210" y="0"/>
                      <a:pt x="841540" y="0"/>
                    </a:cubicBezTo>
                    <a:cubicBezTo>
                      <a:pt x="850109" y="0"/>
                      <a:pt x="857250" y="7121"/>
                      <a:pt x="857250" y="15666"/>
                    </a:cubicBezTo>
                    <a:cubicBezTo>
                      <a:pt x="857250" y="15666"/>
                      <a:pt x="857250" y="15666"/>
                      <a:pt x="857250" y="157372"/>
                    </a:cubicBezTo>
                    <a:cubicBezTo>
                      <a:pt x="857250" y="165917"/>
                      <a:pt x="850109" y="173038"/>
                      <a:pt x="841540" y="173038"/>
                    </a:cubicBezTo>
                    <a:cubicBezTo>
                      <a:pt x="841540" y="173038"/>
                      <a:pt x="841540" y="173038"/>
                      <a:pt x="682296" y="173038"/>
                    </a:cubicBezTo>
                    <a:cubicBezTo>
                      <a:pt x="682296" y="173038"/>
                      <a:pt x="682296" y="173038"/>
                      <a:pt x="619455" y="173038"/>
                    </a:cubicBezTo>
                    <a:cubicBezTo>
                      <a:pt x="619455" y="173038"/>
                      <a:pt x="619455" y="173038"/>
                      <a:pt x="460210" y="173038"/>
                    </a:cubicBezTo>
                    <a:cubicBezTo>
                      <a:pt x="451641" y="173038"/>
                      <a:pt x="444500" y="165917"/>
                      <a:pt x="444500" y="157372"/>
                    </a:cubicBezTo>
                    <a:cubicBezTo>
                      <a:pt x="444500" y="157372"/>
                      <a:pt x="444500" y="157372"/>
                      <a:pt x="444500" y="15666"/>
                    </a:cubicBezTo>
                    <a:cubicBezTo>
                      <a:pt x="444500" y="7121"/>
                      <a:pt x="451641" y="0"/>
                      <a:pt x="460210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5667375" y="3343275"/>
                <a:ext cx="857251" cy="169863"/>
              </a:xfrm>
              <a:custGeom>
                <a:avLst/>
                <a:gdLst>
                  <a:gd name="connsiteX0" fmla="*/ 458630 w 857251"/>
                  <a:gd name="connsiteY0" fmla="*/ 0 h 169863"/>
                  <a:gd name="connsiteX1" fmla="*/ 619364 w 857251"/>
                  <a:gd name="connsiteY1" fmla="*/ 0 h 169863"/>
                  <a:gd name="connsiteX2" fmla="*/ 841535 w 857251"/>
                  <a:gd name="connsiteY2" fmla="*/ 0 h 169863"/>
                  <a:gd name="connsiteX3" fmla="*/ 857251 w 857251"/>
                  <a:gd name="connsiteY3" fmla="*/ 14988 h 169863"/>
                  <a:gd name="connsiteX4" fmla="*/ 857251 w 857251"/>
                  <a:gd name="connsiteY4" fmla="*/ 154875 h 169863"/>
                  <a:gd name="connsiteX5" fmla="*/ 841535 w 857251"/>
                  <a:gd name="connsiteY5" fmla="*/ 169863 h 169863"/>
                  <a:gd name="connsiteX6" fmla="*/ 682229 w 857251"/>
                  <a:gd name="connsiteY6" fmla="*/ 169863 h 169863"/>
                  <a:gd name="connsiteX7" fmla="*/ 619364 w 857251"/>
                  <a:gd name="connsiteY7" fmla="*/ 169863 h 169863"/>
                  <a:gd name="connsiteX8" fmla="*/ 458630 w 857251"/>
                  <a:gd name="connsiteY8" fmla="*/ 169863 h 169863"/>
                  <a:gd name="connsiteX9" fmla="*/ 442913 w 857251"/>
                  <a:gd name="connsiteY9" fmla="*/ 154875 h 169863"/>
                  <a:gd name="connsiteX10" fmla="*/ 442913 w 857251"/>
                  <a:gd name="connsiteY10" fmla="*/ 14988 h 169863"/>
                  <a:gd name="connsiteX11" fmla="*/ 458630 w 857251"/>
                  <a:gd name="connsiteY11" fmla="*/ 0 h 169863"/>
                  <a:gd name="connsiteX12" fmla="*/ 15689 w 857251"/>
                  <a:gd name="connsiteY12" fmla="*/ 0 h 169863"/>
                  <a:gd name="connsiteX13" fmla="*/ 238191 w 857251"/>
                  <a:gd name="connsiteY13" fmla="*/ 0 h 169863"/>
                  <a:gd name="connsiteX14" fmla="*/ 398649 w 857251"/>
                  <a:gd name="connsiteY14" fmla="*/ 0 h 169863"/>
                  <a:gd name="connsiteX15" fmla="*/ 414338 w 857251"/>
                  <a:gd name="connsiteY15" fmla="*/ 14988 h 169863"/>
                  <a:gd name="connsiteX16" fmla="*/ 414338 w 857251"/>
                  <a:gd name="connsiteY16" fmla="*/ 154875 h 169863"/>
                  <a:gd name="connsiteX17" fmla="*/ 398649 w 857251"/>
                  <a:gd name="connsiteY17" fmla="*/ 169863 h 169863"/>
                  <a:gd name="connsiteX18" fmla="*/ 238191 w 857251"/>
                  <a:gd name="connsiteY18" fmla="*/ 169863 h 169863"/>
                  <a:gd name="connsiteX19" fmla="*/ 175434 w 857251"/>
                  <a:gd name="connsiteY19" fmla="*/ 169863 h 169863"/>
                  <a:gd name="connsiteX20" fmla="*/ 15689 w 857251"/>
                  <a:gd name="connsiteY20" fmla="*/ 169863 h 169863"/>
                  <a:gd name="connsiteX21" fmla="*/ 0 w 857251"/>
                  <a:gd name="connsiteY21" fmla="*/ 154875 h 169863"/>
                  <a:gd name="connsiteX22" fmla="*/ 0 w 857251"/>
                  <a:gd name="connsiteY22" fmla="*/ 14988 h 169863"/>
                  <a:gd name="connsiteX23" fmla="*/ 15689 w 857251"/>
                  <a:gd name="connsiteY23" fmla="*/ 0 h 16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857251" h="169863">
                    <a:moveTo>
                      <a:pt x="458630" y="0"/>
                    </a:moveTo>
                    <a:cubicBezTo>
                      <a:pt x="458630" y="0"/>
                      <a:pt x="458630" y="0"/>
                      <a:pt x="619364" y="0"/>
                    </a:cubicBezTo>
                    <a:cubicBezTo>
                      <a:pt x="619364" y="0"/>
                      <a:pt x="619364" y="0"/>
                      <a:pt x="841535" y="0"/>
                    </a:cubicBezTo>
                    <a:cubicBezTo>
                      <a:pt x="850107" y="0"/>
                      <a:pt x="857251" y="6424"/>
                      <a:pt x="857251" y="14988"/>
                    </a:cubicBezTo>
                    <a:cubicBezTo>
                      <a:pt x="857251" y="14988"/>
                      <a:pt x="857251" y="14988"/>
                      <a:pt x="857251" y="154875"/>
                    </a:cubicBezTo>
                    <a:cubicBezTo>
                      <a:pt x="857251" y="163440"/>
                      <a:pt x="850107" y="169863"/>
                      <a:pt x="841535" y="169863"/>
                    </a:cubicBezTo>
                    <a:cubicBezTo>
                      <a:pt x="841535" y="169863"/>
                      <a:pt x="841535" y="169863"/>
                      <a:pt x="682229" y="169863"/>
                    </a:cubicBezTo>
                    <a:cubicBezTo>
                      <a:pt x="682229" y="169863"/>
                      <a:pt x="682229" y="169863"/>
                      <a:pt x="619364" y="169863"/>
                    </a:cubicBezTo>
                    <a:cubicBezTo>
                      <a:pt x="619364" y="169863"/>
                      <a:pt x="619364" y="169863"/>
                      <a:pt x="458630" y="169863"/>
                    </a:cubicBezTo>
                    <a:cubicBezTo>
                      <a:pt x="450057" y="169863"/>
                      <a:pt x="442913" y="163440"/>
                      <a:pt x="442913" y="154875"/>
                    </a:cubicBezTo>
                    <a:cubicBezTo>
                      <a:pt x="442913" y="154875"/>
                      <a:pt x="442913" y="154875"/>
                      <a:pt x="442913" y="14988"/>
                    </a:cubicBezTo>
                    <a:cubicBezTo>
                      <a:pt x="442913" y="6424"/>
                      <a:pt x="450057" y="0"/>
                      <a:pt x="458630" y="0"/>
                    </a:cubicBezTo>
                    <a:close/>
                    <a:moveTo>
                      <a:pt x="15689" y="0"/>
                    </a:moveTo>
                    <a:cubicBezTo>
                      <a:pt x="15689" y="0"/>
                      <a:pt x="15689" y="0"/>
                      <a:pt x="238191" y="0"/>
                    </a:cubicBezTo>
                    <a:cubicBezTo>
                      <a:pt x="238191" y="0"/>
                      <a:pt x="238191" y="0"/>
                      <a:pt x="398649" y="0"/>
                    </a:cubicBezTo>
                    <a:cubicBezTo>
                      <a:pt x="407207" y="0"/>
                      <a:pt x="414338" y="6424"/>
                      <a:pt x="414338" y="14988"/>
                    </a:cubicBezTo>
                    <a:cubicBezTo>
                      <a:pt x="414338" y="14988"/>
                      <a:pt x="414338" y="14988"/>
                      <a:pt x="414338" y="154875"/>
                    </a:cubicBezTo>
                    <a:cubicBezTo>
                      <a:pt x="414338" y="163440"/>
                      <a:pt x="407207" y="169863"/>
                      <a:pt x="398649" y="169863"/>
                    </a:cubicBezTo>
                    <a:cubicBezTo>
                      <a:pt x="398649" y="169863"/>
                      <a:pt x="398649" y="169863"/>
                      <a:pt x="238191" y="169863"/>
                    </a:cubicBezTo>
                    <a:cubicBezTo>
                      <a:pt x="238191" y="169863"/>
                      <a:pt x="238191" y="169863"/>
                      <a:pt x="175434" y="169863"/>
                    </a:cubicBezTo>
                    <a:cubicBezTo>
                      <a:pt x="175434" y="169863"/>
                      <a:pt x="175434" y="169863"/>
                      <a:pt x="15689" y="169863"/>
                    </a:cubicBezTo>
                    <a:cubicBezTo>
                      <a:pt x="7132" y="169863"/>
                      <a:pt x="0" y="163440"/>
                      <a:pt x="0" y="154875"/>
                    </a:cubicBezTo>
                    <a:cubicBezTo>
                      <a:pt x="0" y="154875"/>
                      <a:pt x="0" y="154875"/>
                      <a:pt x="0" y="14988"/>
                    </a:cubicBezTo>
                    <a:cubicBezTo>
                      <a:pt x="0" y="6424"/>
                      <a:pt x="7132" y="0"/>
                      <a:pt x="15689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1965315" y="5511863"/>
            <a:ext cx="804378" cy="804378"/>
            <a:chOff x="2670175" y="3176"/>
            <a:chExt cx="6858000" cy="6858000"/>
          </a:xfrm>
        </p:grpSpPr>
        <p:sp>
          <p:nvSpPr>
            <p:cNvPr id="38" name="AutoShape 3"/>
            <p:cNvSpPr>
              <a:spLocks noChangeAspect="1" noChangeArrowheads="1" noTextEdit="1"/>
            </p:cNvSpPr>
            <p:nvPr/>
          </p:nvSpPr>
          <p:spPr bwMode="auto">
            <a:xfrm>
              <a:off x="2670175" y="3176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3738563" y="1149351"/>
              <a:ext cx="4721225" cy="4565650"/>
              <a:chOff x="3738563" y="1149350"/>
              <a:chExt cx="4721225" cy="4565651"/>
            </a:xfrm>
          </p:grpSpPr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3738563" y="1149350"/>
                <a:ext cx="4721225" cy="4565651"/>
              </a:xfrm>
              <a:custGeom>
                <a:avLst/>
                <a:gdLst>
                  <a:gd name="connsiteX0" fmla="*/ 3078162 w 4721225"/>
                  <a:gd name="connsiteY0" fmla="*/ 3575050 h 4565651"/>
                  <a:gd name="connsiteX1" fmla="*/ 3078162 w 4721225"/>
                  <a:gd name="connsiteY1" fmla="*/ 4425950 h 4565651"/>
                  <a:gd name="connsiteX2" fmla="*/ 4584700 w 4721225"/>
                  <a:gd name="connsiteY2" fmla="*/ 4425950 h 4565651"/>
                  <a:gd name="connsiteX3" fmla="*/ 4584700 w 4721225"/>
                  <a:gd name="connsiteY3" fmla="*/ 3575050 h 4565651"/>
                  <a:gd name="connsiteX4" fmla="*/ 3075553 w 4721225"/>
                  <a:gd name="connsiteY4" fmla="*/ 3436938 h 4565651"/>
                  <a:gd name="connsiteX5" fmla="*/ 4587310 w 4721225"/>
                  <a:gd name="connsiteY5" fmla="*/ 3436938 h 4565651"/>
                  <a:gd name="connsiteX6" fmla="*/ 4721225 w 4721225"/>
                  <a:gd name="connsiteY6" fmla="*/ 3567976 h 4565651"/>
                  <a:gd name="connsiteX7" fmla="*/ 4721225 w 4721225"/>
                  <a:gd name="connsiteY7" fmla="*/ 4431635 h 4565651"/>
                  <a:gd name="connsiteX8" fmla="*/ 4587310 w 4721225"/>
                  <a:gd name="connsiteY8" fmla="*/ 4565651 h 4565651"/>
                  <a:gd name="connsiteX9" fmla="*/ 3075553 w 4721225"/>
                  <a:gd name="connsiteY9" fmla="*/ 4565651 h 4565651"/>
                  <a:gd name="connsiteX10" fmla="*/ 2941637 w 4721225"/>
                  <a:gd name="connsiteY10" fmla="*/ 4431635 h 4565651"/>
                  <a:gd name="connsiteX11" fmla="*/ 2941637 w 4721225"/>
                  <a:gd name="connsiteY11" fmla="*/ 3567976 h 4565651"/>
                  <a:gd name="connsiteX12" fmla="*/ 3075553 w 4721225"/>
                  <a:gd name="connsiteY12" fmla="*/ 3436938 h 4565651"/>
                  <a:gd name="connsiteX13" fmla="*/ 1609725 w 4721225"/>
                  <a:gd name="connsiteY13" fmla="*/ 1857375 h 4565651"/>
                  <a:gd name="connsiteX14" fmla="*/ 1609725 w 4721225"/>
                  <a:gd name="connsiteY14" fmla="*/ 2708275 h 4565651"/>
                  <a:gd name="connsiteX15" fmla="*/ 3105150 w 4721225"/>
                  <a:gd name="connsiteY15" fmla="*/ 2708275 h 4565651"/>
                  <a:gd name="connsiteX16" fmla="*/ 3105150 w 4721225"/>
                  <a:gd name="connsiteY16" fmla="*/ 1857375 h 4565651"/>
                  <a:gd name="connsiteX17" fmla="*/ 1607176 w 4721225"/>
                  <a:gd name="connsiteY17" fmla="*/ 1717675 h 4565651"/>
                  <a:gd name="connsiteX18" fmla="*/ 3107700 w 4721225"/>
                  <a:gd name="connsiteY18" fmla="*/ 1717675 h 4565651"/>
                  <a:gd name="connsiteX19" fmla="*/ 3241675 w 4721225"/>
                  <a:gd name="connsiteY19" fmla="*/ 1851526 h 4565651"/>
                  <a:gd name="connsiteX20" fmla="*/ 3241675 w 4721225"/>
                  <a:gd name="connsiteY20" fmla="*/ 2714124 h 4565651"/>
                  <a:gd name="connsiteX21" fmla="*/ 3107700 w 4721225"/>
                  <a:gd name="connsiteY21" fmla="*/ 2847975 h 4565651"/>
                  <a:gd name="connsiteX22" fmla="*/ 1607176 w 4721225"/>
                  <a:gd name="connsiteY22" fmla="*/ 2847975 h 4565651"/>
                  <a:gd name="connsiteX23" fmla="*/ 1473200 w 4721225"/>
                  <a:gd name="connsiteY23" fmla="*/ 2714124 h 4565651"/>
                  <a:gd name="connsiteX24" fmla="*/ 1473200 w 4721225"/>
                  <a:gd name="connsiteY24" fmla="*/ 2429399 h 4565651"/>
                  <a:gd name="connsiteX25" fmla="*/ 1473200 w 4721225"/>
                  <a:gd name="connsiteY25" fmla="*/ 2384585 h 4565651"/>
                  <a:gd name="connsiteX26" fmla="*/ 1463779 w 4721225"/>
                  <a:gd name="connsiteY26" fmla="*/ 2384585 h 4565651"/>
                  <a:gd name="connsiteX27" fmla="*/ 494087 w 4721225"/>
                  <a:gd name="connsiteY27" fmla="*/ 2384585 h 4565651"/>
                  <a:gd name="connsiteX28" fmla="*/ 494087 w 4721225"/>
                  <a:gd name="connsiteY28" fmla="*/ 3994462 h 4565651"/>
                  <a:gd name="connsiteX29" fmla="*/ 2556513 w 4721225"/>
                  <a:gd name="connsiteY29" fmla="*/ 3994462 h 4565651"/>
                  <a:gd name="connsiteX30" fmla="*/ 2366044 w 4721225"/>
                  <a:gd name="connsiteY30" fmla="*/ 3848650 h 4565651"/>
                  <a:gd name="connsiteX31" fmla="*/ 2351164 w 4721225"/>
                  <a:gd name="connsiteY31" fmla="*/ 3750451 h 4565651"/>
                  <a:gd name="connsiteX32" fmla="*/ 2449374 w 4721225"/>
                  <a:gd name="connsiteY32" fmla="*/ 3738548 h 4565651"/>
                  <a:gd name="connsiteX33" fmla="*/ 2800552 w 4721225"/>
                  <a:gd name="connsiteY33" fmla="*/ 4009340 h 4565651"/>
                  <a:gd name="connsiteX34" fmla="*/ 2803528 w 4721225"/>
                  <a:gd name="connsiteY34" fmla="*/ 4012316 h 4565651"/>
                  <a:gd name="connsiteX35" fmla="*/ 2806505 w 4721225"/>
                  <a:gd name="connsiteY35" fmla="*/ 4015292 h 4565651"/>
                  <a:gd name="connsiteX36" fmla="*/ 2809481 w 4721225"/>
                  <a:gd name="connsiteY36" fmla="*/ 4018267 h 4565651"/>
                  <a:gd name="connsiteX37" fmla="*/ 2812457 w 4721225"/>
                  <a:gd name="connsiteY37" fmla="*/ 4021243 h 4565651"/>
                  <a:gd name="connsiteX38" fmla="*/ 2815433 w 4721225"/>
                  <a:gd name="connsiteY38" fmla="*/ 4027195 h 4565651"/>
                  <a:gd name="connsiteX39" fmla="*/ 2818409 w 4721225"/>
                  <a:gd name="connsiteY39" fmla="*/ 4027195 h 4565651"/>
                  <a:gd name="connsiteX40" fmla="*/ 2818409 w 4721225"/>
                  <a:gd name="connsiteY40" fmla="*/ 4030170 h 4565651"/>
                  <a:gd name="connsiteX41" fmla="*/ 2821385 w 4721225"/>
                  <a:gd name="connsiteY41" fmla="*/ 4033146 h 4565651"/>
                  <a:gd name="connsiteX42" fmla="*/ 2821385 w 4721225"/>
                  <a:gd name="connsiteY42" fmla="*/ 4036122 h 4565651"/>
                  <a:gd name="connsiteX43" fmla="*/ 2824361 w 4721225"/>
                  <a:gd name="connsiteY43" fmla="*/ 4042073 h 4565651"/>
                  <a:gd name="connsiteX44" fmla="*/ 2824361 w 4721225"/>
                  <a:gd name="connsiteY44" fmla="*/ 4048025 h 4565651"/>
                  <a:gd name="connsiteX45" fmla="*/ 2824361 w 4721225"/>
                  <a:gd name="connsiteY45" fmla="*/ 4051001 h 4565651"/>
                  <a:gd name="connsiteX46" fmla="*/ 2827337 w 4721225"/>
                  <a:gd name="connsiteY46" fmla="*/ 4053976 h 4565651"/>
                  <a:gd name="connsiteX47" fmla="*/ 2827337 w 4721225"/>
                  <a:gd name="connsiteY47" fmla="*/ 4056952 h 4565651"/>
                  <a:gd name="connsiteX48" fmla="*/ 2827337 w 4721225"/>
                  <a:gd name="connsiteY48" fmla="*/ 4059928 h 4565651"/>
                  <a:gd name="connsiteX49" fmla="*/ 2827337 w 4721225"/>
                  <a:gd name="connsiteY49" fmla="*/ 4062904 h 4565651"/>
                  <a:gd name="connsiteX50" fmla="*/ 2827337 w 4721225"/>
                  <a:gd name="connsiteY50" fmla="*/ 4065879 h 4565651"/>
                  <a:gd name="connsiteX51" fmla="*/ 2827337 w 4721225"/>
                  <a:gd name="connsiteY51" fmla="*/ 4068855 h 4565651"/>
                  <a:gd name="connsiteX52" fmla="*/ 2827337 w 4721225"/>
                  <a:gd name="connsiteY52" fmla="*/ 4071831 h 4565651"/>
                  <a:gd name="connsiteX53" fmla="*/ 2824361 w 4721225"/>
                  <a:gd name="connsiteY53" fmla="*/ 4077782 h 4565651"/>
                  <a:gd name="connsiteX54" fmla="*/ 2824361 w 4721225"/>
                  <a:gd name="connsiteY54" fmla="*/ 4080758 h 4565651"/>
                  <a:gd name="connsiteX55" fmla="*/ 2824361 w 4721225"/>
                  <a:gd name="connsiteY55" fmla="*/ 4083734 h 4565651"/>
                  <a:gd name="connsiteX56" fmla="*/ 2824361 w 4721225"/>
                  <a:gd name="connsiteY56" fmla="*/ 4086710 h 4565651"/>
                  <a:gd name="connsiteX57" fmla="*/ 2821385 w 4721225"/>
                  <a:gd name="connsiteY57" fmla="*/ 4089685 h 4565651"/>
                  <a:gd name="connsiteX58" fmla="*/ 2821385 w 4721225"/>
                  <a:gd name="connsiteY58" fmla="*/ 4092661 h 4565651"/>
                  <a:gd name="connsiteX59" fmla="*/ 2818409 w 4721225"/>
                  <a:gd name="connsiteY59" fmla="*/ 4095637 h 4565651"/>
                  <a:gd name="connsiteX60" fmla="*/ 2818409 w 4721225"/>
                  <a:gd name="connsiteY60" fmla="*/ 4098612 h 4565651"/>
                  <a:gd name="connsiteX61" fmla="*/ 2815433 w 4721225"/>
                  <a:gd name="connsiteY61" fmla="*/ 4101588 h 4565651"/>
                  <a:gd name="connsiteX62" fmla="*/ 2812457 w 4721225"/>
                  <a:gd name="connsiteY62" fmla="*/ 4104564 h 4565651"/>
                  <a:gd name="connsiteX63" fmla="*/ 2812457 w 4721225"/>
                  <a:gd name="connsiteY63" fmla="*/ 4107540 h 4565651"/>
                  <a:gd name="connsiteX64" fmla="*/ 2809481 w 4721225"/>
                  <a:gd name="connsiteY64" fmla="*/ 4110515 h 4565651"/>
                  <a:gd name="connsiteX65" fmla="*/ 2806505 w 4721225"/>
                  <a:gd name="connsiteY65" fmla="*/ 4113491 h 4565651"/>
                  <a:gd name="connsiteX66" fmla="*/ 2803528 w 4721225"/>
                  <a:gd name="connsiteY66" fmla="*/ 4116467 h 4565651"/>
                  <a:gd name="connsiteX67" fmla="*/ 2800552 w 4721225"/>
                  <a:gd name="connsiteY67" fmla="*/ 4116467 h 4565651"/>
                  <a:gd name="connsiteX68" fmla="*/ 2800552 w 4721225"/>
                  <a:gd name="connsiteY68" fmla="*/ 4119443 h 4565651"/>
                  <a:gd name="connsiteX69" fmla="*/ 2449374 w 4721225"/>
                  <a:gd name="connsiteY69" fmla="*/ 4387259 h 4565651"/>
                  <a:gd name="connsiteX70" fmla="*/ 2407709 w 4721225"/>
                  <a:gd name="connsiteY70" fmla="*/ 4402138 h 4565651"/>
                  <a:gd name="connsiteX71" fmla="*/ 2351164 w 4721225"/>
                  <a:gd name="connsiteY71" fmla="*/ 4375356 h 4565651"/>
                  <a:gd name="connsiteX72" fmla="*/ 2366044 w 4721225"/>
                  <a:gd name="connsiteY72" fmla="*/ 4277157 h 4565651"/>
                  <a:gd name="connsiteX73" fmla="*/ 2556513 w 4721225"/>
                  <a:gd name="connsiteY73" fmla="*/ 4131346 h 4565651"/>
                  <a:gd name="connsiteX74" fmla="*/ 491111 w 4721225"/>
                  <a:gd name="connsiteY74" fmla="*/ 4131346 h 4565651"/>
                  <a:gd name="connsiteX75" fmla="*/ 357187 w 4721225"/>
                  <a:gd name="connsiteY75" fmla="*/ 4000413 h 4565651"/>
                  <a:gd name="connsiteX76" fmla="*/ 357187 w 4721225"/>
                  <a:gd name="connsiteY76" fmla="*/ 2378634 h 4565651"/>
                  <a:gd name="connsiteX77" fmla="*/ 491111 w 4721225"/>
                  <a:gd name="connsiteY77" fmla="*/ 2244725 h 4565651"/>
                  <a:gd name="connsiteX78" fmla="*/ 1305248 w 4721225"/>
                  <a:gd name="connsiteY78" fmla="*/ 2244725 h 4565651"/>
                  <a:gd name="connsiteX79" fmla="*/ 1473200 w 4721225"/>
                  <a:gd name="connsiteY79" fmla="*/ 2244725 h 4565651"/>
                  <a:gd name="connsiteX80" fmla="*/ 1473200 w 4721225"/>
                  <a:gd name="connsiteY80" fmla="*/ 2215435 h 4565651"/>
                  <a:gd name="connsiteX81" fmla="*/ 1473200 w 4721225"/>
                  <a:gd name="connsiteY81" fmla="*/ 1851526 h 4565651"/>
                  <a:gd name="connsiteX82" fmla="*/ 1607176 w 4721225"/>
                  <a:gd name="connsiteY82" fmla="*/ 1717675 h 4565651"/>
                  <a:gd name="connsiteX83" fmla="*/ 136525 w 4721225"/>
                  <a:gd name="connsiteY83" fmla="*/ 139700 h 4565651"/>
                  <a:gd name="connsiteX84" fmla="*/ 136525 w 4721225"/>
                  <a:gd name="connsiteY84" fmla="*/ 990600 h 4565651"/>
                  <a:gd name="connsiteX85" fmla="*/ 1636713 w 4721225"/>
                  <a:gd name="connsiteY85" fmla="*/ 990600 h 4565651"/>
                  <a:gd name="connsiteX86" fmla="*/ 1636713 w 4721225"/>
                  <a:gd name="connsiteY86" fmla="*/ 139700 h 4565651"/>
                  <a:gd name="connsiteX87" fmla="*/ 134005 w 4721225"/>
                  <a:gd name="connsiteY87" fmla="*/ 0 h 4565651"/>
                  <a:gd name="connsiteX88" fmla="*/ 1640820 w 4721225"/>
                  <a:gd name="connsiteY88" fmla="*/ 0 h 4565651"/>
                  <a:gd name="connsiteX89" fmla="*/ 1774825 w 4721225"/>
                  <a:gd name="connsiteY89" fmla="*/ 133828 h 4565651"/>
                  <a:gd name="connsiteX90" fmla="*/ 1774825 w 4721225"/>
                  <a:gd name="connsiteY90" fmla="*/ 418502 h 4565651"/>
                  <a:gd name="connsiteX91" fmla="*/ 1774825 w 4721225"/>
                  <a:gd name="connsiteY91" fmla="*/ 484188 h 4565651"/>
                  <a:gd name="connsiteX92" fmla="*/ 1778132 w 4721225"/>
                  <a:gd name="connsiteY92" fmla="*/ 484188 h 4565651"/>
                  <a:gd name="connsiteX93" fmla="*/ 4190436 w 4721225"/>
                  <a:gd name="connsiteY93" fmla="*/ 484188 h 4565651"/>
                  <a:gd name="connsiteX94" fmla="*/ 4324350 w 4721225"/>
                  <a:gd name="connsiteY94" fmla="*/ 615229 h 4565651"/>
                  <a:gd name="connsiteX95" fmla="*/ 4324350 w 4721225"/>
                  <a:gd name="connsiteY95" fmla="*/ 2250262 h 4565651"/>
                  <a:gd name="connsiteX96" fmla="*/ 4190436 w 4721225"/>
                  <a:gd name="connsiteY96" fmla="*/ 2384281 h 4565651"/>
                  <a:gd name="connsiteX97" fmla="*/ 3639900 w 4721225"/>
                  <a:gd name="connsiteY97" fmla="*/ 2384281 h 4565651"/>
                  <a:gd name="connsiteX98" fmla="*/ 3827380 w 4721225"/>
                  <a:gd name="connsiteY98" fmla="*/ 2521279 h 4565651"/>
                  <a:gd name="connsiteX99" fmla="*/ 3842259 w 4721225"/>
                  <a:gd name="connsiteY99" fmla="*/ 2619559 h 4565651"/>
                  <a:gd name="connsiteX100" fmla="*/ 3785718 w 4721225"/>
                  <a:gd name="connsiteY100" fmla="*/ 2646363 h 4565651"/>
                  <a:gd name="connsiteX101" fmla="*/ 3744055 w 4721225"/>
                  <a:gd name="connsiteY101" fmla="*/ 2634450 h 4565651"/>
                  <a:gd name="connsiteX102" fmla="*/ 3386951 w 4721225"/>
                  <a:gd name="connsiteY102" fmla="*/ 2369390 h 4565651"/>
                  <a:gd name="connsiteX103" fmla="*/ 3360168 w 4721225"/>
                  <a:gd name="connsiteY103" fmla="*/ 2309826 h 4565651"/>
                  <a:gd name="connsiteX104" fmla="*/ 3386951 w 4721225"/>
                  <a:gd name="connsiteY104" fmla="*/ 2253240 h 4565651"/>
                  <a:gd name="connsiteX105" fmla="*/ 3744055 w 4721225"/>
                  <a:gd name="connsiteY105" fmla="*/ 1982224 h 4565651"/>
                  <a:gd name="connsiteX106" fmla="*/ 3842259 w 4721225"/>
                  <a:gd name="connsiteY106" fmla="*/ 1997115 h 4565651"/>
                  <a:gd name="connsiteX107" fmla="*/ 3827380 w 4721225"/>
                  <a:gd name="connsiteY107" fmla="*/ 2092418 h 4565651"/>
                  <a:gd name="connsiteX108" fmla="*/ 3627996 w 4721225"/>
                  <a:gd name="connsiteY108" fmla="*/ 2244306 h 4565651"/>
                  <a:gd name="connsiteX109" fmla="*/ 4187460 w 4721225"/>
                  <a:gd name="connsiteY109" fmla="*/ 2244306 h 4565651"/>
                  <a:gd name="connsiteX110" fmla="*/ 4187460 w 4721225"/>
                  <a:gd name="connsiteY110" fmla="*/ 621185 h 4565651"/>
                  <a:gd name="connsiteX111" fmla="*/ 1982469 w 4721225"/>
                  <a:gd name="connsiteY111" fmla="*/ 621185 h 4565651"/>
                  <a:gd name="connsiteX112" fmla="*/ 1774825 w 4721225"/>
                  <a:gd name="connsiteY112" fmla="*/ 621185 h 4565651"/>
                  <a:gd name="connsiteX113" fmla="*/ 1774825 w 4721225"/>
                  <a:gd name="connsiteY113" fmla="*/ 632429 h 4565651"/>
                  <a:gd name="connsiteX114" fmla="*/ 1774825 w 4721225"/>
                  <a:gd name="connsiteY114" fmla="*/ 996272 h 4565651"/>
                  <a:gd name="connsiteX115" fmla="*/ 1640820 w 4721225"/>
                  <a:gd name="connsiteY115" fmla="*/ 1127125 h 4565651"/>
                  <a:gd name="connsiteX116" fmla="*/ 134005 w 4721225"/>
                  <a:gd name="connsiteY116" fmla="*/ 1127125 h 4565651"/>
                  <a:gd name="connsiteX117" fmla="*/ 0 w 4721225"/>
                  <a:gd name="connsiteY117" fmla="*/ 996272 h 4565651"/>
                  <a:gd name="connsiteX118" fmla="*/ 0 w 4721225"/>
                  <a:gd name="connsiteY118" fmla="*/ 133828 h 4565651"/>
                  <a:gd name="connsiteX119" fmla="*/ 134005 w 4721225"/>
                  <a:gd name="connsiteY119" fmla="*/ 0 h 4565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4721225" h="4565651">
                    <a:moveTo>
                      <a:pt x="3078162" y="3575050"/>
                    </a:moveTo>
                    <a:lnTo>
                      <a:pt x="3078162" y="4425950"/>
                    </a:lnTo>
                    <a:lnTo>
                      <a:pt x="4584700" y="4425950"/>
                    </a:lnTo>
                    <a:lnTo>
                      <a:pt x="4584700" y="3575050"/>
                    </a:lnTo>
                    <a:close/>
                    <a:moveTo>
                      <a:pt x="3075553" y="3436938"/>
                    </a:moveTo>
                    <a:cubicBezTo>
                      <a:pt x="4587310" y="3436938"/>
                      <a:pt x="4587310" y="3436938"/>
                      <a:pt x="4587310" y="3436938"/>
                    </a:cubicBezTo>
                    <a:cubicBezTo>
                      <a:pt x="4661707" y="3436938"/>
                      <a:pt x="4721225" y="3496501"/>
                      <a:pt x="4721225" y="3567976"/>
                    </a:cubicBezTo>
                    <a:cubicBezTo>
                      <a:pt x="4721225" y="4431635"/>
                      <a:pt x="4721225" y="4431635"/>
                      <a:pt x="4721225" y="4431635"/>
                    </a:cubicBezTo>
                    <a:cubicBezTo>
                      <a:pt x="4721225" y="4506088"/>
                      <a:pt x="4661707" y="4565651"/>
                      <a:pt x="4587310" y="4565651"/>
                    </a:cubicBezTo>
                    <a:cubicBezTo>
                      <a:pt x="3075553" y="4565651"/>
                      <a:pt x="3075553" y="4565651"/>
                      <a:pt x="3075553" y="4565651"/>
                    </a:cubicBezTo>
                    <a:cubicBezTo>
                      <a:pt x="3001155" y="4565651"/>
                      <a:pt x="2941637" y="4506088"/>
                      <a:pt x="2941637" y="4431635"/>
                    </a:cubicBezTo>
                    <a:cubicBezTo>
                      <a:pt x="2941637" y="3567976"/>
                      <a:pt x="2941637" y="3567976"/>
                      <a:pt x="2941637" y="3567976"/>
                    </a:cubicBezTo>
                    <a:cubicBezTo>
                      <a:pt x="2941637" y="3496501"/>
                      <a:pt x="3001155" y="3436938"/>
                      <a:pt x="3075553" y="3436938"/>
                    </a:cubicBezTo>
                    <a:close/>
                    <a:moveTo>
                      <a:pt x="1609725" y="1857375"/>
                    </a:moveTo>
                    <a:lnTo>
                      <a:pt x="1609725" y="2708275"/>
                    </a:lnTo>
                    <a:lnTo>
                      <a:pt x="3105150" y="2708275"/>
                    </a:lnTo>
                    <a:lnTo>
                      <a:pt x="3105150" y="1857375"/>
                    </a:lnTo>
                    <a:close/>
                    <a:moveTo>
                      <a:pt x="1607176" y="1717675"/>
                    </a:moveTo>
                    <a:cubicBezTo>
                      <a:pt x="3107700" y="1717675"/>
                      <a:pt x="3107700" y="1717675"/>
                      <a:pt x="3107700" y="1717675"/>
                    </a:cubicBezTo>
                    <a:cubicBezTo>
                      <a:pt x="3182131" y="1717675"/>
                      <a:pt x="3241675" y="1780139"/>
                      <a:pt x="3241675" y="1851526"/>
                    </a:cubicBezTo>
                    <a:cubicBezTo>
                      <a:pt x="3241675" y="2714124"/>
                      <a:pt x="3241675" y="2714124"/>
                      <a:pt x="3241675" y="2714124"/>
                    </a:cubicBezTo>
                    <a:cubicBezTo>
                      <a:pt x="3241675" y="2785511"/>
                      <a:pt x="3182131" y="2847975"/>
                      <a:pt x="3107700" y="2847975"/>
                    </a:cubicBezTo>
                    <a:cubicBezTo>
                      <a:pt x="1607176" y="2847975"/>
                      <a:pt x="1607176" y="2847975"/>
                      <a:pt x="1607176" y="2847975"/>
                    </a:cubicBezTo>
                    <a:cubicBezTo>
                      <a:pt x="1532745" y="2847975"/>
                      <a:pt x="1473200" y="2785511"/>
                      <a:pt x="1473200" y="2714124"/>
                    </a:cubicBezTo>
                    <a:cubicBezTo>
                      <a:pt x="1473200" y="2606299"/>
                      <a:pt x="1473200" y="2511953"/>
                      <a:pt x="1473200" y="2429399"/>
                    </a:cubicBezTo>
                    <a:lnTo>
                      <a:pt x="1473200" y="2384585"/>
                    </a:lnTo>
                    <a:lnTo>
                      <a:pt x="1463779" y="2384585"/>
                    </a:lnTo>
                    <a:cubicBezTo>
                      <a:pt x="1417604" y="2384585"/>
                      <a:pt x="1232900" y="2384585"/>
                      <a:pt x="494087" y="2384585"/>
                    </a:cubicBezTo>
                    <a:cubicBezTo>
                      <a:pt x="494087" y="2384585"/>
                      <a:pt x="494087" y="2384585"/>
                      <a:pt x="494087" y="3994462"/>
                    </a:cubicBezTo>
                    <a:cubicBezTo>
                      <a:pt x="494087" y="3994462"/>
                      <a:pt x="494087" y="3994462"/>
                      <a:pt x="2556513" y="3994462"/>
                    </a:cubicBezTo>
                    <a:cubicBezTo>
                      <a:pt x="2556513" y="3994462"/>
                      <a:pt x="2556513" y="3994462"/>
                      <a:pt x="2366044" y="3848650"/>
                    </a:cubicBezTo>
                    <a:cubicBezTo>
                      <a:pt x="2336283" y="3824844"/>
                      <a:pt x="2330331" y="3783184"/>
                      <a:pt x="2351164" y="3750451"/>
                    </a:cubicBezTo>
                    <a:cubicBezTo>
                      <a:pt x="2374972" y="3720693"/>
                      <a:pt x="2419614" y="3714742"/>
                      <a:pt x="2449374" y="3738548"/>
                    </a:cubicBezTo>
                    <a:cubicBezTo>
                      <a:pt x="2449374" y="3738548"/>
                      <a:pt x="2449374" y="3738548"/>
                      <a:pt x="2800552" y="4009340"/>
                    </a:cubicBezTo>
                    <a:cubicBezTo>
                      <a:pt x="2803528" y="4009340"/>
                      <a:pt x="2803528" y="4012316"/>
                      <a:pt x="2803528" y="4012316"/>
                    </a:cubicBezTo>
                    <a:cubicBezTo>
                      <a:pt x="2806505" y="4012316"/>
                      <a:pt x="2806505" y="4015292"/>
                      <a:pt x="2806505" y="4015292"/>
                    </a:cubicBezTo>
                    <a:cubicBezTo>
                      <a:pt x="2806505" y="4015292"/>
                      <a:pt x="2809481" y="4015292"/>
                      <a:pt x="2809481" y="4018267"/>
                    </a:cubicBezTo>
                    <a:cubicBezTo>
                      <a:pt x="2809481" y="4018267"/>
                      <a:pt x="2809481" y="4018267"/>
                      <a:pt x="2812457" y="4021243"/>
                    </a:cubicBezTo>
                    <a:cubicBezTo>
                      <a:pt x="2815433" y="4024219"/>
                      <a:pt x="2815433" y="4024219"/>
                      <a:pt x="2815433" y="4027195"/>
                    </a:cubicBezTo>
                    <a:cubicBezTo>
                      <a:pt x="2815433" y="4027195"/>
                      <a:pt x="2815433" y="4027195"/>
                      <a:pt x="2818409" y="4027195"/>
                    </a:cubicBezTo>
                    <a:cubicBezTo>
                      <a:pt x="2818409" y="4030170"/>
                      <a:pt x="2818409" y="4030170"/>
                      <a:pt x="2818409" y="4030170"/>
                    </a:cubicBezTo>
                    <a:cubicBezTo>
                      <a:pt x="2818409" y="4033146"/>
                      <a:pt x="2821385" y="4033146"/>
                      <a:pt x="2821385" y="4033146"/>
                    </a:cubicBezTo>
                    <a:cubicBezTo>
                      <a:pt x="2821385" y="4036122"/>
                      <a:pt x="2821385" y="4036122"/>
                      <a:pt x="2821385" y="4036122"/>
                    </a:cubicBezTo>
                    <a:cubicBezTo>
                      <a:pt x="2821385" y="4039098"/>
                      <a:pt x="2821385" y="4039098"/>
                      <a:pt x="2824361" y="4042073"/>
                    </a:cubicBezTo>
                    <a:cubicBezTo>
                      <a:pt x="2824361" y="4045049"/>
                      <a:pt x="2824361" y="4045049"/>
                      <a:pt x="2824361" y="4048025"/>
                    </a:cubicBezTo>
                    <a:cubicBezTo>
                      <a:pt x="2824361" y="4048025"/>
                      <a:pt x="2824361" y="4048025"/>
                      <a:pt x="2824361" y="4051001"/>
                    </a:cubicBezTo>
                    <a:cubicBezTo>
                      <a:pt x="2827337" y="4051001"/>
                      <a:pt x="2827337" y="4051001"/>
                      <a:pt x="2827337" y="4053976"/>
                    </a:cubicBezTo>
                    <a:cubicBezTo>
                      <a:pt x="2827337" y="4053976"/>
                      <a:pt x="2827337" y="4056952"/>
                      <a:pt x="2827337" y="4056952"/>
                    </a:cubicBezTo>
                    <a:cubicBezTo>
                      <a:pt x="2827337" y="4056952"/>
                      <a:pt x="2827337" y="4059928"/>
                      <a:pt x="2827337" y="4059928"/>
                    </a:cubicBezTo>
                    <a:cubicBezTo>
                      <a:pt x="2827337" y="4059928"/>
                      <a:pt x="2827337" y="4062904"/>
                      <a:pt x="2827337" y="4062904"/>
                    </a:cubicBezTo>
                    <a:cubicBezTo>
                      <a:pt x="2827337" y="4065879"/>
                      <a:pt x="2827337" y="4065879"/>
                      <a:pt x="2827337" y="4065879"/>
                    </a:cubicBezTo>
                    <a:cubicBezTo>
                      <a:pt x="2827337" y="4068855"/>
                      <a:pt x="2827337" y="4068855"/>
                      <a:pt x="2827337" y="4068855"/>
                    </a:cubicBezTo>
                    <a:cubicBezTo>
                      <a:pt x="2827337" y="4071831"/>
                      <a:pt x="2827337" y="4071831"/>
                      <a:pt x="2827337" y="4071831"/>
                    </a:cubicBezTo>
                    <a:cubicBezTo>
                      <a:pt x="2827337" y="4074807"/>
                      <a:pt x="2827337" y="4074807"/>
                      <a:pt x="2824361" y="4077782"/>
                    </a:cubicBezTo>
                    <a:cubicBezTo>
                      <a:pt x="2824361" y="4077782"/>
                      <a:pt x="2824361" y="4077782"/>
                      <a:pt x="2824361" y="4080758"/>
                    </a:cubicBezTo>
                    <a:cubicBezTo>
                      <a:pt x="2824361" y="4080758"/>
                      <a:pt x="2824361" y="4080758"/>
                      <a:pt x="2824361" y="4083734"/>
                    </a:cubicBezTo>
                    <a:cubicBezTo>
                      <a:pt x="2824361" y="4083734"/>
                      <a:pt x="2824361" y="4083734"/>
                      <a:pt x="2824361" y="4086710"/>
                    </a:cubicBezTo>
                    <a:cubicBezTo>
                      <a:pt x="2821385" y="4086710"/>
                      <a:pt x="2821385" y="4089685"/>
                      <a:pt x="2821385" y="4089685"/>
                    </a:cubicBezTo>
                    <a:cubicBezTo>
                      <a:pt x="2821385" y="4089685"/>
                      <a:pt x="2821385" y="4092661"/>
                      <a:pt x="2821385" y="4092661"/>
                    </a:cubicBezTo>
                    <a:cubicBezTo>
                      <a:pt x="2821385" y="4092661"/>
                      <a:pt x="2818409" y="4095637"/>
                      <a:pt x="2818409" y="4095637"/>
                    </a:cubicBezTo>
                    <a:cubicBezTo>
                      <a:pt x="2818409" y="4095637"/>
                      <a:pt x="2818409" y="4098612"/>
                      <a:pt x="2818409" y="4098612"/>
                    </a:cubicBezTo>
                    <a:cubicBezTo>
                      <a:pt x="2815433" y="4098612"/>
                      <a:pt x="2815433" y="4101588"/>
                      <a:pt x="2815433" y="4101588"/>
                    </a:cubicBezTo>
                    <a:cubicBezTo>
                      <a:pt x="2815433" y="4101588"/>
                      <a:pt x="2815433" y="4104564"/>
                      <a:pt x="2812457" y="4104564"/>
                    </a:cubicBezTo>
                    <a:cubicBezTo>
                      <a:pt x="2812457" y="4104564"/>
                      <a:pt x="2812457" y="4107540"/>
                      <a:pt x="2812457" y="4107540"/>
                    </a:cubicBezTo>
                    <a:cubicBezTo>
                      <a:pt x="2809481" y="4107540"/>
                      <a:pt x="2809481" y="4110515"/>
                      <a:pt x="2809481" y="4110515"/>
                    </a:cubicBezTo>
                    <a:cubicBezTo>
                      <a:pt x="2806505" y="4110515"/>
                      <a:pt x="2806505" y="4110515"/>
                      <a:pt x="2806505" y="4113491"/>
                    </a:cubicBezTo>
                    <a:cubicBezTo>
                      <a:pt x="2806505" y="4113491"/>
                      <a:pt x="2803528" y="4113491"/>
                      <a:pt x="2803528" y="4116467"/>
                    </a:cubicBezTo>
                    <a:cubicBezTo>
                      <a:pt x="2803528" y="4116467"/>
                      <a:pt x="2800552" y="4116467"/>
                      <a:pt x="2800552" y="4116467"/>
                    </a:cubicBezTo>
                    <a:cubicBezTo>
                      <a:pt x="2800552" y="4116467"/>
                      <a:pt x="2800552" y="4116467"/>
                      <a:pt x="2800552" y="4119443"/>
                    </a:cubicBezTo>
                    <a:cubicBezTo>
                      <a:pt x="2800552" y="4119443"/>
                      <a:pt x="2800552" y="4119443"/>
                      <a:pt x="2449374" y="4387259"/>
                    </a:cubicBezTo>
                    <a:cubicBezTo>
                      <a:pt x="2437470" y="4396187"/>
                      <a:pt x="2422590" y="4402138"/>
                      <a:pt x="2407709" y="4402138"/>
                    </a:cubicBezTo>
                    <a:cubicBezTo>
                      <a:pt x="2386877" y="4402138"/>
                      <a:pt x="2366044" y="4393211"/>
                      <a:pt x="2351164" y="4375356"/>
                    </a:cubicBezTo>
                    <a:cubicBezTo>
                      <a:pt x="2330331" y="4345599"/>
                      <a:pt x="2336283" y="4300963"/>
                      <a:pt x="2366044" y="4277157"/>
                    </a:cubicBezTo>
                    <a:cubicBezTo>
                      <a:pt x="2366044" y="4277157"/>
                      <a:pt x="2366044" y="4277157"/>
                      <a:pt x="2556513" y="4131346"/>
                    </a:cubicBezTo>
                    <a:cubicBezTo>
                      <a:pt x="2556513" y="4131346"/>
                      <a:pt x="2556513" y="4131346"/>
                      <a:pt x="491111" y="4131346"/>
                    </a:cubicBezTo>
                    <a:cubicBezTo>
                      <a:pt x="416709" y="4131346"/>
                      <a:pt x="357187" y="4074807"/>
                      <a:pt x="357187" y="4000413"/>
                    </a:cubicBezTo>
                    <a:cubicBezTo>
                      <a:pt x="357187" y="4000413"/>
                      <a:pt x="357187" y="4000413"/>
                      <a:pt x="357187" y="2378634"/>
                    </a:cubicBezTo>
                    <a:cubicBezTo>
                      <a:pt x="357187" y="2304240"/>
                      <a:pt x="416709" y="2244725"/>
                      <a:pt x="491111" y="2244725"/>
                    </a:cubicBezTo>
                    <a:cubicBezTo>
                      <a:pt x="491111" y="2244725"/>
                      <a:pt x="491111" y="2244725"/>
                      <a:pt x="1305248" y="2244725"/>
                    </a:cubicBezTo>
                    <a:lnTo>
                      <a:pt x="1473200" y="2244725"/>
                    </a:lnTo>
                    <a:lnTo>
                      <a:pt x="1473200" y="2215435"/>
                    </a:lnTo>
                    <a:cubicBezTo>
                      <a:pt x="1473200" y="1851526"/>
                      <a:pt x="1473200" y="1851526"/>
                      <a:pt x="1473200" y="1851526"/>
                    </a:cubicBezTo>
                    <a:cubicBezTo>
                      <a:pt x="1473200" y="1780139"/>
                      <a:pt x="1532745" y="1717675"/>
                      <a:pt x="1607176" y="1717675"/>
                    </a:cubicBezTo>
                    <a:close/>
                    <a:moveTo>
                      <a:pt x="136525" y="139700"/>
                    </a:moveTo>
                    <a:lnTo>
                      <a:pt x="136525" y="990600"/>
                    </a:lnTo>
                    <a:lnTo>
                      <a:pt x="1636713" y="990600"/>
                    </a:lnTo>
                    <a:lnTo>
                      <a:pt x="1636713" y="139700"/>
                    </a:lnTo>
                    <a:close/>
                    <a:moveTo>
                      <a:pt x="134005" y="0"/>
                    </a:moveTo>
                    <a:cubicBezTo>
                      <a:pt x="1640820" y="0"/>
                      <a:pt x="1640820" y="0"/>
                      <a:pt x="1640820" y="0"/>
                    </a:cubicBezTo>
                    <a:cubicBezTo>
                      <a:pt x="1715267" y="0"/>
                      <a:pt x="1774825" y="59479"/>
                      <a:pt x="1774825" y="133828"/>
                    </a:cubicBezTo>
                    <a:cubicBezTo>
                      <a:pt x="1774825" y="241634"/>
                      <a:pt x="1774825" y="335964"/>
                      <a:pt x="1774825" y="418502"/>
                    </a:cubicBezTo>
                    <a:lnTo>
                      <a:pt x="1774825" y="484188"/>
                    </a:lnTo>
                    <a:lnTo>
                      <a:pt x="1778132" y="484188"/>
                    </a:lnTo>
                    <a:cubicBezTo>
                      <a:pt x="1847496" y="484188"/>
                      <a:pt x="2217434" y="484188"/>
                      <a:pt x="4190436" y="484188"/>
                    </a:cubicBezTo>
                    <a:cubicBezTo>
                      <a:pt x="4264833" y="484188"/>
                      <a:pt x="4324350" y="543752"/>
                      <a:pt x="4324350" y="615229"/>
                    </a:cubicBezTo>
                    <a:cubicBezTo>
                      <a:pt x="4324350" y="615229"/>
                      <a:pt x="4324350" y="615229"/>
                      <a:pt x="4324350" y="2250262"/>
                    </a:cubicBezTo>
                    <a:cubicBezTo>
                      <a:pt x="4324350" y="2324717"/>
                      <a:pt x="4264833" y="2384281"/>
                      <a:pt x="4190436" y="2384281"/>
                    </a:cubicBezTo>
                    <a:cubicBezTo>
                      <a:pt x="4190436" y="2384281"/>
                      <a:pt x="4190436" y="2384281"/>
                      <a:pt x="3639900" y="2384281"/>
                    </a:cubicBezTo>
                    <a:cubicBezTo>
                      <a:pt x="3639900" y="2384281"/>
                      <a:pt x="3639900" y="2384281"/>
                      <a:pt x="3827380" y="2521279"/>
                    </a:cubicBezTo>
                    <a:cubicBezTo>
                      <a:pt x="3857138" y="2545104"/>
                      <a:pt x="3863090" y="2586799"/>
                      <a:pt x="3842259" y="2619559"/>
                    </a:cubicBezTo>
                    <a:cubicBezTo>
                      <a:pt x="3827380" y="2637429"/>
                      <a:pt x="3806549" y="2646363"/>
                      <a:pt x="3785718" y="2646363"/>
                    </a:cubicBezTo>
                    <a:cubicBezTo>
                      <a:pt x="3770838" y="2646363"/>
                      <a:pt x="3758935" y="2643385"/>
                      <a:pt x="3744055" y="2634450"/>
                    </a:cubicBezTo>
                    <a:cubicBezTo>
                      <a:pt x="3744055" y="2634450"/>
                      <a:pt x="3744055" y="2634450"/>
                      <a:pt x="3386951" y="2369390"/>
                    </a:cubicBezTo>
                    <a:cubicBezTo>
                      <a:pt x="3369096" y="2354499"/>
                      <a:pt x="3360168" y="2333652"/>
                      <a:pt x="3360168" y="2309826"/>
                    </a:cubicBezTo>
                    <a:cubicBezTo>
                      <a:pt x="3360168" y="2288979"/>
                      <a:pt x="3369096" y="2268131"/>
                      <a:pt x="3386951" y="2253240"/>
                    </a:cubicBezTo>
                    <a:cubicBezTo>
                      <a:pt x="3386951" y="2253240"/>
                      <a:pt x="3386951" y="2253240"/>
                      <a:pt x="3744055" y="1982224"/>
                    </a:cubicBezTo>
                    <a:cubicBezTo>
                      <a:pt x="3773814" y="1961377"/>
                      <a:pt x="3818452" y="1967333"/>
                      <a:pt x="3842259" y="1997115"/>
                    </a:cubicBezTo>
                    <a:cubicBezTo>
                      <a:pt x="3863090" y="2026897"/>
                      <a:pt x="3857138" y="2071570"/>
                      <a:pt x="3827380" y="2092418"/>
                    </a:cubicBezTo>
                    <a:cubicBezTo>
                      <a:pt x="3827380" y="2092418"/>
                      <a:pt x="3827380" y="2092418"/>
                      <a:pt x="3627996" y="2244306"/>
                    </a:cubicBezTo>
                    <a:cubicBezTo>
                      <a:pt x="3627996" y="2244306"/>
                      <a:pt x="3627996" y="2244306"/>
                      <a:pt x="4187460" y="2244306"/>
                    </a:cubicBezTo>
                    <a:cubicBezTo>
                      <a:pt x="4187460" y="2244306"/>
                      <a:pt x="4187460" y="2244306"/>
                      <a:pt x="4187460" y="621185"/>
                    </a:cubicBezTo>
                    <a:cubicBezTo>
                      <a:pt x="4187460" y="621185"/>
                      <a:pt x="4187460" y="621185"/>
                      <a:pt x="1982469" y="621185"/>
                    </a:cubicBezTo>
                    <a:lnTo>
                      <a:pt x="1774825" y="621185"/>
                    </a:lnTo>
                    <a:lnTo>
                      <a:pt x="1774825" y="632429"/>
                    </a:lnTo>
                    <a:cubicBezTo>
                      <a:pt x="1774825" y="996272"/>
                      <a:pt x="1774825" y="996272"/>
                      <a:pt x="1774825" y="996272"/>
                    </a:cubicBezTo>
                    <a:cubicBezTo>
                      <a:pt x="1774825" y="1067646"/>
                      <a:pt x="1715267" y="1127125"/>
                      <a:pt x="1640820" y="1127125"/>
                    </a:cubicBezTo>
                    <a:cubicBezTo>
                      <a:pt x="134005" y="1127125"/>
                      <a:pt x="134005" y="1127125"/>
                      <a:pt x="134005" y="1127125"/>
                    </a:cubicBezTo>
                    <a:cubicBezTo>
                      <a:pt x="59558" y="1127125"/>
                      <a:pt x="0" y="1067646"/>
                      <a:pt x="0" y="996272"/>
                    </a:cubicBezTo>
                    <a:cubicBezTo>
                      <a:pt x="0" y="133828"/>
                      <a:pt x="0" y="133828"/>
                      <a:pt x="0" y="133828"/>
                    </a:cubicBezTo>
                    <a:cubicBezTo>
                      <a:pt x="0" y="59479"/>
                      <a:pt x="59558" y="0"/>
                      <a:pt x="134005" y="0"/>
                    </a:cubicBezTo>
                    <a:close/>
                  </a:path>
                </a:pathLst>
              </a:custGeom>
              <a:solidFill>
                <a:srgbClr val="452D6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11"/>
              <p:cNvSpPr>
                <a:spLocks noEditPoints="1"/>
              </p:cNvSpPr>
              <p:nvPr/>
            </p:nvSpPr>
            <p:spPr bwMode="auto">
              <a:xfrm>
                <a:off x="3976688" y="1374775"/>
                <a:ext cx="4238625" cy="4114801"/>
              </a:xfrm>
              <a:custGeom>
                <a:avLst/>
                <a:gdLst>
                  <a:gd name="T0" fmla="*/ 1012 w 1424"/>
                  <a:gd name="T1" fmla="*/ 1153 h 1382"/>
                  <a:gd name="T2" fmla="*/ 1402 w 1424"/>
                  <a:gd name="T3" fmla="*/ 1153 h 1382"/>
                  <a:gd name="T4" fmla="*/ 1424 w 1424"/>
                  <a:gd name="T5" fmla="*/ 1174 h 1382"/>
                  <a:gd name="T6" fmla="*/ 1424 w 1424"/>
                  <a:gd name="T7" fmla="*/ 1360 h 1382"/>
                  <a:gd name="T8" fmla="*/ 1402 w 1424"/>
                  <a:gd name="T9" fmla="*/ 1382 h 1382"/>
                  <a:gd name="T10" fmla="*/ 1012 w 1424"/>
                  <a:gd name="T11" fmla="*/ 1382 h 1382"/>
                  <a:gd name="T12" fmla="*/ 991 w 1424"/>
                  <a:gd name="T13" fmla="*/ 1360 h 1382"/>
                  <a:gd name="T14" fmla="*/ 991 w 1424"/>
                  <a:gd name="T15" fmla="*/ 1174 h 1382"/>
                  <a:gd name="T16" fmla="*/ 1012 w 1424"/>
                  <a:gd name="T17" fmla="*/ 1153 h 1382"/>
                  <a:gd name="T18" fmla="*/ 518 w 1424"/>
                  <a:gd name="T19" fmla="*/ 576 h 1382"/>
                  <a:gd name="T20" fmla="*/ 908 w 1424"/>
                  <a:gd name="T21" fmla="*/ 576 h 1382"/>
                  <a:gd name="T22" fmla="*/ 930 w 1424"/>
                  <a:gd name="T23" fmla="*/ 598 h 1382"/>
                  <a:gd name="T24" fmla="*/ 930 w 1424"/>
                  <a:gd name="T25" fmla="*/ 782 h 1382"/>
                  <a:gd name="T26" fmla="*/ 908 w 1424"/>
                  <a:gd name="T27" fmla="*/ 804 h 1382"/>
                  <a:gd name="T28" fmla="*/ 518 w 1424"/>
                  <a:gd name="T29" fmla="*/ 804 h 1382"/>
                  <a:gd name="T30" fmla="*/ 496 w 1424"/>
                  <a:gd name="T31" fmla="*/ 782 h 1382"/>
                  <a:gd name="T32" fmla="*/ 496 w 1424"/>
                  <a:gd name="T33" fmla="*/ 598 h 1382"/>
                  <a:gd name="T34" fmla="*/ 518 w 1424"/>
                  <a:gd name="T35" fmla="*/ 576 h 1382"/>
                  <a:gd name="T36" fmla="*/ 22 w 1424"/>
                  <a:gd name="T37" fmla="*/ 0 h 1382"/>
                  <a:gd name="T38" fmla="*/ 414 w 1424"/>
                  <a:gd name="T39" fmla="*/ 0 h 1382"/>
                  <a:gd name="T40" fmla="*/ 435 w 1424"/>
                  <a:gd name="T41" fmla="*/ 22 h 1382"/>
                  <a:gd name="T42" fmla="*/ 435 w 1424"/>
                  <a:gd name="T43" fmla="*/ 206 h 1382"/>
                  <a:gd name="T44" fmla="*/ 414 w 1424"/>
                  <a:gd name="T45" fmla="*/ 227 h 1382"/>
                  <a:gd name="T46" fmla="*/ 22 w 1424"/>
                  <a:gd name="T47" fmla="*/ 227 h 1382"/>
                  <a:gd name="T48" fmla="*/ 0 w 1424"/>
                  <a:gd name="T49" fmla="*/ 206 h 1382"/>
                  <a:gd name="T50" fmla="*/ 0 w 1424"/>
                  <a:gd name="T51" fmla="*/ 22 h 1382"/>
                  <a:gd name="T52" fmla="*/ 22 w 1424"/>
                  <a:gd name="T53" fmla="*/ 0 h 1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24" h="1382">
                    <a:moveTo>
                      <a:pt x="1012" y="1153"/>
                    </a:moveTo>
                    <a:cubicBezTo>
                      <a:pt x="1402" y="1153"/>
                      <a:pt x="1402" y="1153"/>
                      <a:pt x="1402" y="1153"/>
                    </a:cubicBezTo>
                    <a:cubicBezTo>
                      <a:pt x="1415" y="1153"/>
                      <a:pt x="1424" y="1163"/>
                      <a:pt x="1424" y="1174"/>
                    </a:cubicBezTo>
                    <a:cubicBezTo>
                      <a:pt x="1424" y="1360"/>
                      <a:pt x="1424" y="1360"/>
                      <a:pt x="1424" y="1360"/>
                    </a:cubicBezTo>
                    <a:cubicBezTo>
                      <a:pt x="1424" y="1373"/>
                      <a:pt x="1415" y="1382"/>
                      <a:pt x="1402" y="1382"/>
                    </a:cubicBezTo>
                    <a:cubicBezTo>
                      <a:pt x="1012" y="1382"/>
                      <a:pt x="1012" y="1382"/>
                      <a:pt x="1012" y="1382"/>
                    </a:cubicBezTo>
                    <a:cubicBezTo>
                      <a:pt x="1000" y="1382"/>
                      <a:pt x="991" y="1373"/>
                      <a:pt x="991" y="1360"/>
                    </a:cubicBezTo>
                    <a:cubicBezTo>
                      <a:pt x="991" y="1174"/>
                      <a:pt x="991" y="1174"/>
                      <a:pt x="991" y="1174"/>
                    </a:cubicBezTo>
                    <a:cubicBezTo>
                      <a:pt x="991" y="1163"/>
                      <a:pt x="1000" y="1153"/>
                      <a:pt x="1012" y="1153"/>
                    </a:cubicBezTo>
                    <a:close/>
                    <a:moveTo>
                      <a:pt x="518" y="576"/>
                    </a:moveTo>
                    <a:cubicBezTo>
                      <a:pt x="908" y="576"/>
                      <a:pt x="908" y="576"/>
                      <a:pt x="908" y="576"/>
                    </a:cubicBezTo>
                    <a:cubicBezTo>
                      <a:pt x="920" y="576"/>
                      <a:pt x="930" y="586"/>
                      <a:pt x="930" y="598"/>
                    </a:cubicBezTo>
                    <a:cubicBezTo>
                      <a:pt x="930" y="782"/>
                      <a:pt x="930" y="782"/>
                      <a:pt x="930" y="782"/>
                    </a:cubicBezTo>
                    <a:cubicBezTo>
                      <a:pt x="930" y="795"/>
                      <a:pt x="920" y="804"/>
                      <a:pt x="908" y="804"/>
                    </a:cubicBezTo>
                    <a:cubicBezTo>
                      <a:pt x="518" y="804"/>
                      <a:pt x="518" y="804"/>
                      <a:pt x="518" y="804"/>
                    </a:cubicBezTo>
                    <a:cubicBezTo>
                      <a:pt x="506" y="804"/>
                      <a:pt x="496" y="795"/>
                      <a:pt x="496" y="782"/>
                    </a:cubicBezTo>
                    <a:cubicBezTo>
                      <a:pt x="496" y="598"/>
                      <a:pt x="496" y="598"/>
                      <a:pt x="496" y="598"/>
                    </a:cubicBezTo>
                    <a:cubicBezTo>
                      <a:pt x="496" y="586"/>
                      <a:pt x="506" y="576"/>
                      <a:pt x="518" y="576"/>
                    </a:cubicBezTo>
                    <a:close/>
                    <a:moveTo>
                      <a:pt x="22" y="0"/>
                    </a:moveTo>
                    <a:cubicBezTo>
                      <a:pt x="414" y="0"/>
                      <a:pt x="414" y="0"/>
                      <a:pt x="414" y="0"/>
                    </a:cubicBezTo>
                    <a:cubicBezTo>
                      <a:pt x="425" y="0"/>
                      <a:pt x="435" y="10"/>
                      <a:pt x="435" y="22"/>
                    </a:cubicBezTo>
                    <a:cubicBezTo>
                      <a:pt x="435" y="206"/>
                      <a:pt x="435" y="206"/>
                      <a:pt x="435" y="206"/>
                    </a:cubicBezTo>
                    <a:cubicBezTo>
                      <a:pt x="435" y="217"/>
                      <a:pt x="425" y="227"/>
                      <a:pt x="414" y="227"/>
                    </a:cubicBezTo>
                    <a:cubicBezTo>
                      <a:pt x="22" y="227"/>
                      <a:pt x="22" y="227"/>
                      <a:pt x="22" y="227"/>
                    </a:cubicBezTo>
                    <a:cubicBezTo>
                      <a:pt x="10" y="227"/>
                      <a:pt x="0" y="217"/>
                      <a:pt x="0" y="206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lose/>
                  </a:path>
                </a:pathLst>
              </a:custGeom>
              <a:solidFill>
                <a:srgbClr val="B61872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46" name="bcgIcons_Efficiency">
            <a:extLst>
              <a:ext uri="{FF2B5EF4-FFF2-40B4-BE49-F238E27FC236}">
                <a16:creationId xmlns:a16="http://schemas.microsoft.com/office/drawing/2014/main" id="{EA66A0EC-26C0-447A-95EE-2E6B08B1AE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65315" y="3977625"/>
            <a:ext cx="803634" cy="804378"/>
            <a:chOff x="1682" y="0"/>
            <a:chExt cx="4316" cy="4320"/>
          </a:xfrm>
        </p:grpSpPr>
        <p:sp>
          <p:nvSpPr>
            <p:cNvPr id="47" name="AutoShape 28">
              <a:extLst>
                <a:ext uri="{FF2B5EF4-FFF2-40B4-BE49-F238E27FC236}">
                  <a16:creationId xmlns:a16="http://schemas.microsoft.com/office/drawing/2014/main" id="{43AB32F6-33EB-4284-AB9A-1D421869BA8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66D2CC3E-97A4-4899-A4ED-0D86BA74C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1" y="2201"/>
              <a:ext cx="2881" cy="1564"/>
            </a:xfrm>
            <a:custGeom>
              <a:avLst/>
              <a:gdLst>
                <a:gd name="T0" fmla="*/ 1538 w 1538"/>
                <a:gd name="T1" fmla="*/ 129 h 834"/>
                <a:gd name="T2" fmla="*/ 1538 w 1538"/>
                <a:gd name="T3" fmla="*/ 0 h 834"/>
                <a:gd name="T4" fmla="*/ 1404 w 1538"/>
                <a:gd name="T5" fmla="*/ 0 h 834"/>
                <a:gd name="T6" fmla="*/ 1212 w 1538"/>
                <a:gd name="T7" fmla="*/ 0 h 834"/>
                <a:gd name="T8" fmla="*/ 1204 w 1538"/>
                <a:gd name="T9" fmla="*/ 0 h 834"/>
                <a:gd name="T10" fmla="*/ 769 w 1538"/>
                <a:gd name="T11" fmla="*/ 435 h 834"/>
                <a:gd name="T12" fmla="*/ 334 w 1538"/>
                <a:gd name="T13" fmla="*/ 0 h 834"/>
                <a:gd name="T14" fmla="*/ 326 w 1538"/>
                <a:gd name="T15" fmla="*/ 0 h 834"/>
                <a:gd name="T16" fmla="*/ 134 w 1538"/>
                <a:gd name="T17" fmla="*/ 0 h 834"/>
                <a:gd name="T18" fmla="*/ 0 w 1538"/>
                <a:gd name="T19" fmla="*/ 0 h 834"/>
                <a:gd name="T20" fmla="*/ 0 w 1538"/>
                <a:gd name="T21" fmla="*/ 129 h 834"/>
                <a:gd name="T22" fmla="*/ 147 w 1538"/>
                <a:gd name="T23" fmla="*/ 129 h 834"/>
                <a:gd name="T24" fmla="*/ 215 w 1538"/>
                <a:gd name="T25" fmla="*/ 310 h 834"/>
                <a:gd name="T26" fmla="*/ 69 w 1538"/>
                <a:gd name="T27" fmla="*/ 394 h 834"/>
                <a:gd name="T28" fmla="*/ 133 w 1538"/>
                <a:gd name="T29" fmla="*/ 506 h 834"/>
                <a:gd name="T30" fmla="*/ 289 w 1538"/>
                <a:gd name="T31" fmla="*/ 416 h 834"/>
                <a:gd name="T32" fmla="*/ 423 w 1538"/>
                <a:gd name="T33" fmla="*/ 532 h 834"/>
                <a:gd name="T34" fmla="*/ 325 w 1538"/>
                <a:gd name="T35" fmla="*/ 700 h 834"/>
                <a:gd name="T36" fmla="*/ 437 w 1538"/>
                <a:gd name="T37" fmla="*/ 765 h 834"/>
                <a:gd name="T38" fmla="*/ 538 w 1538"/>
                <a:gd name="T39" fmla="*/ 591 h 834"/>
                <a:gd name="T40" fmla="*/ 704 w 1538"/>
                <a:gd name="T41" fmla="*/ 632 h 834"/>
                <a:gd name="T42" fmla="*/ 704 w 1538"/>
                <a:gd name="T43" fmla="*/ 834 h 834"/>
                <a:gd name="T44" fmla="*/ 834 w 1538"/>
                <a:gd name="T45" fmla="*/ 834 h 834"/>
                <a:gd name="T46" fmla="*/ 834 w 1538"/>
                <a:gd name="T47" fmla="*/ 632 h 834"/>
                <a:gd name="T48" fmla="*/ 996 w 1538"/>
                <a:gd name="T49" fmla="*/ 593 h 834"/>
                <a:gd name="T50" fmla="*/ 1095 w 1538"/>
                <a:gd name="T51" fmla="*/ 765 h 834"/>
                <a:gd name="T52" fmla="*/ 1207 w 1538"/>
                <a:gd name="T53" fmla="*/ 700 h 834"/>
                <a:gd name="T54" fmla="*/ 1111 w 1538"/>
                <a:gd name="T55" fmla="*/ 535 h 834"/>
                <a:gd name="T56" fmla="*/ 1248 w 1538"/>
                <a:gd name="T57" fmla="*/ 417 h 834"/>
                <a:gd name="T58" fmla="*/ 1401 w 1538"/>
                <a:gd name="T59" fmla="*/ 506 h 834"/>
                <a:gd name="T60" fmla="*/ 1466 w 1538"/>
                <a:gd name="T61" fmla="*/ 394 h 834"/>
                <a:gd name="T62" fmla="*/ 1323 w 1538"/>
                <a:gd name="T63" fmla="*/ 311 h 834"/>
                <a:gd name="T64" fmla="*/ 1391 w 1538"/>
                <a:gd name="T65" fmla="*/ 129 h 834"/>
                <a:gd name="T66" fmla="*/ 1538 w 1538"/>
                <a:gd name="T67" fmla="*/ 129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38" h="834">
                  <a:moveTo>
                    <a:pt x="1538" y="129"/>
                  </a:moveTo>
                  <a:cubicBezTo>
                    <a:pt x="1538" y="0"/>
                    <a:pt x="1538" y="0"/>
                    <a:pt x="1538" y="0"/>
                  </a:cubicBezTo>
                  <a:cubicBezTo>
                    <a:pt x="1404" y="0"/>
                    <a:pt x="1404" y="0"/>
                    <a:pt x="1404" y="0"/>
                  </a:cubicBezTo>
                  <a:cubicBezTo>
                    <a:pt x="1212" y="0"/>
                    <a:pt x="1212" y="0"/>
                    <a:pt x="1212" y="0"/>
                  </a:cubicBezTo>
                  <a:cubicBezTo>
                    <a:pt x="1204" y="0"/>
                    <a:pt x="1204" y="0"/>
                    <a:pt x="1204" y="0"/>
                  </a:cubicBezTo>
                  <a:cubicBezTo>
                    <a:pt x="1204" y="240"/>
                    <a:pt x="1009" y="435"/>
                    <a:pt x="769" y="435"/>
                  </a:cubicBezTo>
                  <a:cubicBezTo>
                    <a:pt x="529" y="435"/>
                    <a:pt x="334" y="240"/>
                    <a:pt x="334" y="0"/>
                  </a:cubicBezTo>
                  <a:cubicBezTo>
                    <a:pt x="326" y="0"/>
                    <a:pt x="326" y="0"/>
                    <a:pt x="326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47" y="129"/>
                    <a:pt x="147" y="129"/>
                    <a:pt x="147" y="129"/>
                  </a:cubicBezTo>
                  <a:cubicBezTo>
                    <a:pt x="161" y="193"/>
                    <a:pt x="184" y="254"/>
                    <a:pt x="215" y="310"/>
                  </a:cubicBezTo>
                  <a:cubicBezTo>
                    <a:pt x="69" y="394"/>
                    <a:pt x="69" y="394"/>
                    <a:pt x="69" y="394"/>
                  </a:cubicBezTo>
                  <a:cubicBezTo>
                    <a:pt x="133" y="506"/>
                    <a:pt x="133" y="506"/>
                    <a:pt x="133" y="506"/>
                  </a:cubicBezTo>
                  <a:cubicBezTo>
                    <a:pt x="289" y="416"/>
                    <a:pt x="289" y="416"/>
                    <a:pt x="289" y="416"/>
                  </a:cubicBezTo>
                  <a:cubicBezTo>
                    <a:pt x="328" y="460"/>
                    <a:pt x="373" y="500"/>
                    <a:pt x="423" y="532"/>
                  </a:cubicBezTo>
                  <a:cubicBezTo>
                    <a:pt x="325" y="700"/>
                    <a:pt x="325" y="700"/>
                    <a:pt x="325" y="700"/>
                  </a:cubicBezTo>
                  <a:cubicBezTo>
                    <a:pt x="437" y="765"/>
                    <a:pt x="437" y="765"/>
                    <a:pt x="437" y="765"/>
                  </a:cubicBezTo>
                  <a:cubicBezTo>
                    <a:pt x="538" y="591"/>
                    <a:pt x="538" y="591"/>
                    <a:pt x="538" y="591"/>
                  </a:cubicBezTo>
                  <a:cubicBezTo>
                    <a:pt x="590" y="612"/>
                    <a:pt x="646" y="626"/>
                    <a:pt x="704" y="632"/>
                  </a:cubicBezTo>
                  <a:cubicBezTo>
                    <a:pt x="704" y="834"/>
                    <a:pt x="704" y="834"/>
                    <a:pt x="704" y="834"/>
                  </a:cubicBezTo>
                  <a:cubicBezTo>
                    <a:pt x="834" y="834"/>
                    <a:pt x="834" y="834"/>
                    <a:pt x="834" y="834"/>
                  </a:cubicBezTo>
                  <a:cubicBezTo>
                    <a:pt x="834" y="632"/>
                    <a:pt x="834" y="632"/>
                    <a:pt x="834" y="632"/>
                  </a:cubicBezTo>
                  <a:cubicBezTo>
                    <a:pt x="890" y="626"/>
                    <a:pt x="944" y="613"/>
                    <a:pt x="996" y="593"/>
                  </a:cubicBezTo>
                  <a:cubicBezTo>
                    <a:pt x="1095" y="765"/>
                    <a:pt x="1095" y="765"/>
                    <a:pt x="1095" y="765"/>
                  </a:cubicBezTo>
                  <a:cubicBezTo>
                    <a:pt x="1207" y="700"/>
                    <a:pt x="1207" y="700"/>
                    <a:pt x="1207" y="700"/>
                  </a:cubicBezTo>
                  <a:cubicBezTo>
                    <a:pt x="1111" y="535"/>
                    <a:pt x="1111" y="535"/>
                    <a:pt x="1111" y="535"/>
                  </a:cubicBezTo>
                  <a:cubicBezTo>
                    <a:pt x="1162" y="502"/>
                    <a:pt x="1208" y="462"/>
                    <a:pt x="1248" y="417"/>
                  </a:cubicBezTo>
                  <a:cubicBezTo>
                    <a:pt x="1401" y="506"/>
                    <a:pt x="1401" y="506"/>
                    <a:pt x="1401" y="506"/>
                  </a:cubicBezTo>
                  <a:cubicBezTo>
                    <a:pt x="1466" y="394"/>
                    <a:pt x="1466" y="394"/>
                    <a:pt x="1466" y="394"/>
                  </a:cubicBezTo>
                  <a:cubicBezTo>
                    <a:pt x="1323" y="311"/>
                    <a:pt x="1323" y="311"/>
                    <a:pt x="1323" y="311"/>
                  </a:cubicBezTo>
                  <a:cubicBezTo>
                    <a:pt x="1354" y="255"/>
                    <a:pt x="1377" y="194"/>
                    <a:pt x="1391" y="129"/>
                  </a:cubicBezTo>
                  <a:lnTo>
                    <a:pt x="1538" y="129"/>
                  </a:lnTo>
                  <a:close/>
                </a:path>
              </a:pathLst>
            </a:custGeom>
            <a:solidFill>
              <a:srgbClr val="452D6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ACC9770F-E984-43D8-99E6-799D7AD021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3" y="748"/>
              <a:ext cx="2738" cy="1540"/>
            </a:xfrm>
            <a:custGeom>
              <a:avLst/>
              <a:gdLst>
                <a:gd name="T0" fmla="*/ 1180 w 1462"/>
                <a:gd name="T1" fmla="*/ 155 h 821"/>
                <a:gd name="T2" fmla="*/ 252 w 1462"/>
                <a:gd name="T3" fmla="*/ 731 h 821"/>
                <a:gd name="T4" fmla="*/ 339 w 1462"/>
                <a:gd name="T5" fmla="*/ 406 h 821"/>
                <a:gd name="T6" fmla="*/ 514 w 1462"/>
                <a:gd name="T7" fmla="*/ 310 h 821"/>
                <a:gd name="T8" fmla="*/ 1186 w 1462"/>
                <a:gd name="T9" fmla="*/ 423 h 821"/>
                <a:gd name="T10" fmla="*/ 1048 w 1462"/>
                <a:gd name="T11" fmla="*/ 112 h 821"/>
                <a:gd name="T12" fmla="*/ 1041 w 1462"/>
                <a:gd name="T13" fmla="*/ 125 h 821"/>
                <a:gd name="T14" fmla="*/ 1035 w 1462"/>
                <a:gd name="T15" fmla="*/ 134 h 821"/>
                <a:gd name="T16" fmla="*/ 1020 w 1462"/>
                <a:gd name="T17" fmla="*/ 158 h 821"/>
                <a:gd name="T18" fmla="*/ 1005 w 1462"/>
                <a:gd name="T19" fmla="*/ 183 h 821"/>
                <a:gd name="T20" fmla="*/ 990 w 1462"/>
                <a:gd name="T21" fmla="*/ 208 h 821"/>
                <a:gd name="T22" fmla="*/ 980 w 1462"/>
                <a:gd name="T23" fmla="*/ 226 h 821"/>
                <a:gd name="T24" fmla="*/ 965 w 1462"/>
                <a:gd name="T25" fmla="*/ 250 h 821"/>
                <a:gd name="T26" fmla="*/ 949 w 1462"/>
                <a:gd name="T27" fmla="*/ 275 h 821"/>
                <a:gd name="T28" fmla="*/ 934 w 1462"/>
                <a:gd name="T29" fmla="*/ 300 h 821"/>
                <a:gd name="T30" fmla="*/ 924 w 1462"/>
                <a:gd name="T31" fmla="*/ 317 h 821"/>
                <a:gd name="T32" fmla="*/ 908 w 1462"/>
                <a:gd name="T33" fmla="*/ 342 h 821"/>
                <a:gd name="T34" fmla="*/ 893 w 1462"/>
                <a:gd name="T35" fmla="*/ 366 h 821"/>
                <a:gd name="T36" fmla="*/ 878 w 1462"/>
                <a:gd name="T37" fmla="*/ 391 h 821"/>
                <a:gd name="T38" fmla="*/ 863 w 1462"/>
                <a:gd name="T39" fmla="*/ 416 h 821"/>
                <a:gd name="T40" fmla="*/ 852 w 1462"/>
                <a:gd name="T41" fmla="*/ 433 h 821"/>
                <a:gd name="T42" fmla="*/ 837 w 1462"/>
                <a:gd name="T43" fmla="*/ 457 h 821"/>
                <a:gd name="T44" fmla="*/ 821 w 1462"/>
                <a:gd name="T45" fmla="*/ 482 h 821"/>
                <a:gd name="T46" fmla="*/ 806 w 1462"/>
                <a:gd name="T47" fmla="*/ 507 h 821"/>
                <a:gd name="T48" fmla="*/ 791 w 1462"/>
                <a:gd name="T49" fmla="*/ 531 h 821"/>
                <a:gd name="T50" fmla="*/ 776 w 1462"/>
                <a:gd name="T51" fmla="*/ 554 h 821"/>
                <a:gd name="T52" fmla="*/ 761 w 1462"/>
                <a:gd name="T53" fmla="*/ 579 h 821"/>
                <a:gd name="T54" fmla="*/ 746 w 1462"/>
                <a:gd name="T55" fmla="*/ 603 h 821"/>
                <a:gd name="T56" fmla="*/ 730 w 1462"/>
                <a:gd name="T57" fmla="*/ 628 h 821"/>
                <a:gd name="T58" fmla="*/ 715 w 1462"/>
                <a:gd name="T59" fmla="*/ 653 h 821"/>
                <a:gd name="T60" fmla="*/ 699 w 1462"/>
                <a:gd name="T61" fmla="*/ 677 h 821"/>
                <a:gd name="T62" fmla="*/ 689 w 1462"/>
                <a:gd name="T63" fmla="*/ 693 h 821"/>
                <a:gd name="T64" fmla="*/ 663 w 1462"/>
                <a:gd name="T65" fmla="*/ 753 h 821"/>
                <a:gd name="T66" fmla="*/ 801 w 1462"/>
                <a:gd name="T67" fmla="*/ 764 h 821"/>
                <a:gd name="T68" fmla="*/ 814 w 1462"/>
                <a:gd name="T69" fmla="*/ 739 h 821"/>
                <a:gd name="T70" fmla="*/ 829 w 1462"/>
                <a:gd name="T71" fmla="*/ 712 h 821"/>
                <a:gd name="T72" fmla="*/ 842 w 1462"/>
                <a:gd name="T73" fmla="*/ 687 h 821"/>
                <a:gd name="T74" fmla="*/ 855 w 1462"/>
                <a:gd name="T75" fmla="*/ 662 h 821"/>
                <a:gd name="T76" fmla="*/ 868 w 1462"/>
                <a:gd name="T77" fmla="*/ 637 h 821"/>
                <a:gd name="T78" fmla="*/ 882 w 1462"/>
                <a:gd name="T79" fmla="*/ 612 h 821"/>
                <a:gd name="T80" fmla="*/ 895 w 1462"/>
                <a:gd name="T81" fmla="*/ 587 h 821"/>
                <a:gd name="T82" fmla="*/ 908 w 1462"/>
                <a:gd name="T83" fmla="*/ 562 h 821"/>
                <a:gd name="T84" fmla="*/ 923 w 1462"/>
                <a:gd name="T85" fmla="*/ 535 h 821"/>
                <a:gd name="T86" fmla="*/ 936 w 1462"/>
                <a:gd name="T87" fmla="*/ 510 h 821"/>
                <a:gd name="T88" fmla="*/ 949 w 1462"/>
                <a:gd name="T89" fmla="*/ 486 h 821"/>
                <a:gd name="T90" fmla="*/ 963 w 1462"/>
                <a:gd name="T91" fmla="*/ 461 h 821"/>
                <a:gd name="T92" fmla="*/ 976 w 1462"/>
                <a:gd name="T93" fmla="*/ 436 h 821"/>
                <a:gd name="T94" fmla="*/ 990 w 1462"/>
                <a:gd name="T95" fmla="*/ 409 h 821"/>
                <a:gd name="T96" fmla="*/ 1004 w 1462"/>
                <a:gd name="T97" fmla="*/ 384 h 821"/>
                <a:gd name="T98" fmla="*/ 1017 w 1462"/>
                <a:gd name="T99" fmla="*/ 360 h 821"/>
                <a:gd name="T100" fmla="*/ 1030 w 1462"/>
                <a:gd name="T101" fmla="*/ 335 h 821"/>
                <a:gd name="T102" fmla="*/ 1045 w 1462"/>
                <a:gd name="T103" fmla="*/ 308 h 821"/>
                <a:gd name="T104" fmla="*/ 1058 w 1462"/>
                <a:gd name="T105" fmla="*/ 284 h 821"/>
                <a:gd name="T106" fmla="*/ 1072 w 1462"/>
                <a:gd name="T107" fmla="*/ 259 h 821"/>
                <a:gd name="T108" fmla="*/ 1085 w 1462"/>
                <a:gd name="T109" fmla="*/ 234 h 821"/>
                <a:gd name="T110" fmla="*/ 1098 w 1462"/>
                <a:gd name="T111" fmla="*/ 211 h 821"/>
                <a:gd name="T112" fmla="*/ 1105 w 1462"/>
                <a:gd name="T113" fmla="*/ 199 h 821"/>
                <a:gd name="T114" fmla="*/ 1112 w 1462"/>
                <a:gd name="T115" fmla="*/ 186 h 821"/>
                <a:gd name="T116" fmla="*/ 1118 w 1462"/>
                <a:gd name="T117" fmla="*/ 174 h 821"/>
                <a:gd name="T118" fmla="*/ 1125 w 1462"/>
                <a:gd name="T119" fmla="*/ 161 h 821"/>
                <a:gd name="T120" fmla="*/ 1114 w 1462"/>
                <a:gd name="T121" fmla="*/ 89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62" h="821">
                  <a:moveTo>
                    <a:pt x="964" y="167"/>
                  </a:moveTo>
                  <a:cubicBezTo>
                    <a:pt x="893" y="137"/>
                    <a:pt x="814" y="120"/>
                    <a:pt x="731" y="120"/>
                  </a:cubicBezTo>
                  <a:cubicBezTo>
                    <a:pt x="394" y="120"/>
                    <a:pt x="120" y="394"/>
                    <a:pt x="120" y="731"/>
                  </a:cubicBezTo>
                  <a:cubicBezTo>
                    <a:pt x="0" y="731"/>
                    <a:pt x="0" y="731"/>
                    <a:pt x="0" y="731"/>
                  </a:cubicBezTo>
                  <a:cubicBezTo>
                    <a:pt x="0" y="328"/>
                    <a:pt x="328" y="0"/>
                    <a:pt x="731" y="0"/>
                  </a:cubicBezTo>
                  <a:cubicBezTo>
                    <a:pt x="837" y="0"/>
                    <a:pt x="938" y="23"/>
                    <a:pt x="1029" y="64"/>
                  </a:cubicBezTo>
                  <a:lnTo>
                    <a:pt x="964" y="167"/>
                  </a:lnTo>
                  <a:close/>
                  <a:moveTo>
                    <a:pt x="1180" y="155"/>
                  </a:moveTo>
                  <a:cubicBezTo>
                    <a:pt x="1121" y="261"/>
                    <a:pt x="1121" y="261"/>
                    <a:pt x="1121" y="261"/>
                  </a:cubicBezTo>
                  <a:cubicBezTo>
                    <a:pt x="1256" y="373"/>
                    <a:pt x="1342" y="542"/>
                    <a:pt x="1342" y="731"/>
                  </a:cubicBezTo>
                  <a:cubicBezTo>
                    <a:pt x="1462" y="731"/>
                    <a:pt x="1462" y="731"/>
                    <a:pt x="1462" y="731"/>
                  </a:cubicBezTo>
                  <a:cubicBezTo>
                    <a:pt x="1462" y="497"/>
                    <a:pt x="1351" y="289"/>
                    <a:pt x="1180" y="155"/>
                  </a:cubicBezTo>
                  <a:close/>
                  <a:moveTo>
                    <a:pt x="297" y="685"/>
                  </a:moveTo>
                  <a:cubicBezTo>
                    <a:pt x="297" y="660"/>
                    <a:pt x="277" y="640"/>
                    <a:pt x="252" y="640"/>
                  </a:cubicBezTo>
                  <a:cubicBezTo>
                    <a:pt x="226" y="640"/>
                    <a:pt x="206" y="660"/>
                    <a:pt x="206" y="685"/>
                  </a:cubicBezTo>
                  <a:cubicBezTo>
                    <a:pt x="206" y="711"/>
                    <a:pt x="226" y="731"/>
                    <a:pt x="252" y="731"/>
                  </a:cubicBezTo>
                  <a:cubicBezTo>
                    <a:pt x="277" y="731"/>
                    <a:pt x="297" y="711"/>
                    <a:pt x="297" y="685"/>
                  </a:cubicBezTo>
                  <a:close/>
                  <a:moveTo>
                    <a:pt x="1256" y="685"/>
                  </a:moveTo>
                  <a:cubicBezTo>
                    <a:pt x="1256" y="660"/>
                    <a:pt x="1236" y="640"/>
                    <a:pt x="1210" y="640"/>
                  </a:cubicBezTo>
                  <a:cubicBezTo>
                    <a:pt x="1185" y="640"/>
                    <a:pt x="1165" y="660"/>
                    <a:pt x="1165" y="685"/>
                  </a:cubicBezTo>
                  <a:cubicBezTo>
                    <a:pt x="1165" y="711"/>
                    <a:pt x="1185" y="731"/>
                    <a:pt x="1210" y="731"/>
                  </a:cubicBezTo>
                  <a:cubicBezTo>
                    <a:pt x="1236" y="731"/>
                    <a:pt x="1256" y="711"/>
                    <a:pt x="1256" y="685"/>
                  </a:cubicBezTo>
                  <a:close/>
                  <a:moveTo>
                    <a:pt x="355" y="469"/>
                  </a:moveTo>
                  <a:cubicBezTo>
                    <a:pt x="368" y="447"/>
                    <a:pt x="360" y="419"/>
                    <a:pt x="339" y="406"/>
                  </a:cubicBezTo>
                  <a:cubicBezTo>
                    <a:pt x="317" y="394"/>
                    <a:pt x="289" y="401"/>
                    <a:pt x="276" y="423"/>
                  </a:cubicBezTo>
                  <a:cubicBezTo>
                    <a:pt x="264" y="445"/>
                    <a:pt x="271" y="473"/>
                    <a:pt x="293" y="485"/>
                  </a:cubicBezTo>
                  <a:cubicBezTo>
                    <a:pt x="315" y="498"/>
                    <a:pt x="343" y="490"/>
                    <a:pt x="355" y="469"/>
                  </a:cubicBezTo>
                  <a:close/>
                  <a:moveTo>
                    <a:pt x="514" y="310"/>
                  </a:moveTo>
                  <a:cubicBezTo>
                    <a:pt x="536" y="297"/>
                    <a:pt x="543" y="269"/>
                    <a:pt x="531" y="248"/>
                  </a:cubicBezTo>
                  <a:cubicBezTo>
                    <a:pt x="518" y="226"/>
                    <a:pt x="490" y="218"/>
                    <a:pt x="469" y="231"/>
                  </a:cubicBezTo>
                  <a:cubicBezTo>
                    <a:pt x="447" y="243"/>
                    <a:pt x="439" y="271"/>
                    <a:pt x="452" y="293"/>
                  </a:cubicBezTo>
                  <a:cubicBezTo>
                    <a:pt x="464" y="315"/>
                    <a:pt x="492" y="322"/>
                    <a:pt x="514" y="310"/>
                  </a:cubicBezTo>
                  <a:close/>
                  <a:moveTo>
                    <a:pt x="731" y="252"/>
                  </a:moveTo>
                  <a:cubicBezTo>
                    <a:pt x="756" y="252"/>
                    <a:pt x="777" y="231"/>
                    <a:pt x="777" y="206"/>
                  </a:cubicBezTo>
                  <a:cubicBezTo>
                    <a:pt x="777" y="181"/>
                    <a:pt x="756" y="161"/>
                    <a:pt x="731" y="161"/>
                  </a:cubicBezTo>
                  <a:cubicBezTo>
                    <a:pt x="706" y="161"/>
                    <a:pt x="685" y="181"/>
                    <a:pt x="685" y="206"/>
                  </a:cubicBezTo>
                  <a:cubicBezTo>
                    <a:pt x="685" y="231"/>
                    <a:pt x="706" y="252"/>
                    <a:pt x="731" y="252"/>
                  </a:cubicBezTo>
                  <a:close/>
                  <a:moveTo>
                    <a:pt x="1107" y="469"/>
                  </a:moveTo>
                  <a:cubicBezTo>
                    <a:pt x="1119" y="490"/>
                    <a:pt x="1147" y="498"/>
                    <a:pt x="1169" y="485"/>
                  </a:cubicBezTo>
                  <a:cubicBezTo>
                    <a:pt x="1191" y="473"/>
                    <a:pt x="1198" y="445"/>
                    <a:pt x="1186" y="423"/>
                  </a:cubicBezTo>
                  <a:cubicBezTo>
                    <a:pt x="1173" y="401"/>
                    <a:pt x="1145" y="394"/>
                    <a:pt x="1123" y="406"/>
                  </a:cubicBezTo>
                  <a:cubicBezTo>
                    <a:pt x="1102" y="419"/>
                    <a:pt x="1094" y="447"/>
                    <a:pt x="1107" y="469"/>
                  </a:cubicBezTo>
                  <a:close/>
                  <a:moveTo>
                    <a:pt x="1114" y="89"/>
                  </a:moveTo>
                  <a:cubicBezTo>
                    <a:pt x="1093" y="76"/>
                    <a:pt x="1065" y="84"/>
                    <a:pt x="1052" y="106"/>
                  </a:cubicBezTo>
                  <a:cubicBezTo>
                    <a:pt x="1052" y="106"/>
                    <a:pt x="1052" y="106"/>
                    <a:pt x="1052" y="107"/>
                  </a:cubicBezTo>
                  <a:cubicBezTo>
                    <a:pt x="1051" y="107"/>
                    <a:pt x="1051" y="108"/>
                    <a:pt x="1050" y="109"/>
                  </a:cubicBezTo>
                  <a:cubicBezTo>
                    <a:pt x="1050" y="109"/>
                    <a:pt x="1050" y="110"/>
                    <a:pt x="1050" y="110"/>
                  </a:cubicBezTo>
                  <a:cubicBezTo>
                    <a:pt x="1049" y="111"/>
                    <a:pt x="1049" y="111"/>
                    <a:pt x="1048" y="112"/>
                  </a:cubicBezTo>
                  <a:cubicBezTo>
                    <a:pt x="1048" y="112"/>
                    <a:pt x="1048" y="113"/>
                    <a:pt x="1048" y="113"/>
                  </a:cubicBezTo>
                  <a:cubicBezTo>
                    <a:pt x="1047" y="114"/>
                    <a:pt x="1047" y="115"/>
                    <a:pt x="1046" y="115"/>
                  </a:cubicBezTo>
                  <a:cubicBezTo>
                    <a:pt x="1046" y="116"/>
                    <a:pt x="1046" y="116"/>
                    <a:pt x="1046" y="116"/>
                  </a:cubicBezTo>
                  <a:cubicBezTo>
                    <a:pt x="1046" y="117"/>
                    <a:pt x="1045" y="118"/>
                    <a:pt x="1044" y="119"/>
                  </a:cubicBezTo>
                  <a:cubicBezTo>
                    <a:pt x="1044" y="119"/>
                    <a:pt x="1044" y="119"/>
                    <a:pt x="1044" y="119"/>
                  </a:cubicBezTo>
                  <a:cubicBezTo>
                    <a:pt x="1044" y="120"/>
                    <a:pt x="1043" y="121"/>
                    <a:pt x="1043" y="122"/>
                  </a:cubicBezTo>
                  <a:cubicBezTo>
                    <a:pt x="1042" y="122"/>
                    <a:pt x="1042" y="122"/>
                    <a:pt x="1042" y="122"/>
                  </a:cubicBezTo>
                  <a:cubicBezTo>
                    <a:pt x="1042" y="123"/>
                    <a:pt x="1041" y="124"/>
                    <a:pt x="1041" y="125"/>
                  </a:cubicBezTo>
                  <a:cubicBezTo>
                    <a:pt x="1041" y="125"/>
                    <a:pt x="1040" y="125"/>
                    <a:pt x="1040" y="125"/>
                  </a:cubicBezTo>
                  <a:cubicBezTo>
                    <a:pt x="1040" y="126"/>
                    <a:pt x="1039" y="127"/>
                    <a:pt x="1039" y="128"/>
                  </a:cubicBezTo>
                  <a:cubicBezTo>
                    <a:pt x="1039" y="128"/>
                    <a:pt x="1039" y="128"/>
                    <a:pt x="1039" y="128"/>
                  </a:cubicBezTo>
                  <a:cubicBezTo>
                    <a:pt x="1038" y="129"/>
                    <a:pt x="1038" y="130"/>
                    <a:pt x="1037" y="131"/>
                  </a:cubicBezTo>
                  <a:cubicBezTo>
                    <a:pt x="1037" y="131"/>
                    <a:pt x="1037" y="131"/>
                    <a:pt x="1037" y="131"/>
                  </a:cubicBezTo>
                  <a:cubicBezTo>
                    <a:pt x="1037" y="131"/>
                    <a:pt x="1037" y="131"/>
                    <a:pt x="1037" y="131"/>
                  </a:cubicBezTo>
                  <a:cubicBezTo>
                    <a:pt x="1037" y="131"/>
                    <a:pt x="1037" y="131"/>
                    <a:pt x="1037" y="131"/>
                  </a:cubicBezTo>
                  <a:cubicBezTo>
                    <a:pt x="1036" y="132"/>
                    <a:pt x="1036" y="133"/>
                    <a:pt x="1035" y="134"/>
                  </a:cubicBezTo>
                  <a:cubicBezTo>
                    <a:pt x="1035" y="135"/>
                    <a:pt x="1034" y="136"/>
                    <a:pt x="1033" y="137"/>
                  </a:cubicBezTo>
                  <a:cubicBezTo>
                    <a:pt x="1033" y="138"/>
                    <a:pt x="1032" y="139"/>
                    <a:pt x="1032" y="140"/>
                  </a:cubicBezTo>
                  <a:cubicBezTo>
                    <a:pt x="1031" y="141"/>
                    <a:pt x="1030" y="142"/>
                    <a:pt x="1030" y="143"/>
                  </a:cubicBezTo>
                  <a:cubicBezTo>
                    <a:pt x="1029" y="144"/>
                    <a:pt x="1028" y="145"/>
                    <a:pt x="1028" y="146"/>
                  </a:cubicBezTo>
                  <a:cubicBezTo>
                    <a:pt x="1027" y="147"/>
                    <a:pt x="1027" y="148"/>
                    <a:pt x="1026" y="149"/>
                  </a:cubicBezTo>
                  <a:cubicBezTo>
                    <a:pt x="1025" y="150"/>
                    <a:pt x="1025" y="151"/>
                    <a:pt x="1024" y="152"/>
                  </a:cubicBezTo>
                  <a:cubicBezTo>
                    <a:pt x="1023" y="153"/>
                    <a:pt x="1023" y="154"/>
                    <a:pt x="1022" y="155"/>
                  </a:cubicBezTo>
                  <a:cubicBezTo>
                    <a:pt x="1022" y="156"/>
                    <a:pt x="1021" y="157"/>
                    <a:pt x="1020" y="158"/>
                  </a:cubicBezTo>
                  <a:cubicBezTo>
                    <a:pt x="1020" y="159"/>
                    <a:pt x="1019" y="161"/>
                    <a:pt x="1019" y="162"/>
                  </a:cubicBezTo>
                  <a:cubicBezTo>
                    <a:pt x="1018" y="163"/>
                    <a:pt x="1017" y="164"/>
                    <a:pt x="1017" y="165"/>
                  </a:cubicBezTo>
                  <a:cubicBezTo>
                    <a:pt x="1016" y="166"/>
                    <a:pt x="1015" y="167"/>
                    <a:pt x="1015" y="168"/>
                  </a:cubicBezTo>
                  <a:cubicBezTo>
                    <a:pt x="1014" y="169"/>
                    <a:pt x="1014" y="170"/>
                    <a:pt x="1013" y="171"/>
                  </a:cubicBezTo>
                  <a:cubicBezTo>
                    <a:pt x="1012" y="172"/>
                    <a:pt x="1012" y="173"/>
                    <a:pt x="1011" y="174"/>
                  </a:cubicBezTo>
                  <a:cubicBezTo>
                    <a:pt x="1010" y="175"/>
                    <a:pt x="1010" y="176"/>
                    <a:pt x="1009" y="177"/>
                  </a:cubicBezTo>
                  <a:cubicBezTo>
                    <a:pt x="1009" y="178"/>
                    <a:pt x="1008" y="179"/>
                    <a:pt x="1007" y="180"/>
                  </a:cubicBezTo>
                  <a:cubicBezTo>
                    <a:pt x="1007" y="181"/>
                    <a:pt x="1006" y="182"/>
                    <a:pt x="1005" y="183"/>
                  </a:cubicBezTo>
                  <a:cubicBezTo>
                    <a:pt x="1005" y="184"/>
                    <a:pt x="1004" y="185"/>
                    <a:pt x="1004" y="186"/>
                  </a:cubicBezTo>
                  <a:cubicBezTo>
                    <a:pt x="1003" y="187"/>
                    <a:pt x="1002" y="188"/>
                    <a:pt x="1002" y="189"/>
                  </a:cubicBezTo>
                  <a:cubicBezTo>
                    <a:pt x="1001" y="190"/>
                    <a:pt x="1000" y="191"/>
                    <a:pt x="1000" y="192"/>
                  </a:cubicBezTo>
                  <a:cubicBezTo>
                    <a:pt x="999" y="193"/>
                    <a:pt x="998" y="195"/>
                    <a:pt x="998" y="196"/>
                  </a:cubicBezTo>
                  <a:cubicBezTo>
                    <a:pt x="997" y="197"/>
                    <a:pt x="997" y="198"/>
                    <a:pt x="996" y="199"/>
                  </a:cubicBezTo>
                  <a:cubicBezTo>
                    <a:pt x="995" y="200"/>
                    <a:pt x="995" y="201"/>
                    <a:pt x="994" y="202"/>
                  </a:cubicBezTo>
                  <a:cubicBezTo>
                    <a:pt x="993" y="203"/>
                    <a:pt x="993" y="204"/>
                    <a:pt x="992" y="205"/>
                  </a:cubicBezTo>
                  <a:cubicBezTo>
                    <a:pt x="992" y="206"/>
                    <a:pt x="991" y="207"/>
                    <a:pt x="990" y="208"/>
                  </a:cubicBezTo>
                  <a:cubicBezTo>
                    <a:pt x="990" y="209"/>
                    <a:pt x="989" y="210"/>
                    <a:pt x="988" y="211"/>
                  </a:cubicBezTo>
                  <a:cubicBezTo>
                    <a:pt x="988" y="212"/>
                    <a:pt x="987" y="213"/>
                    <a:pt x="987" y="214"/>
                  </a:cubicBezTo>
                  <a:cubicBezTo>
                    <a:pt x="986" y="215"/>
                    <a:pt x="986" y="216"/>
                    <a:pt x="985" y="216"/>
                  </a:cubicBezTo>
                  <a:cubicBezTo>
                    <a:pt x="985" y="216"/>
                    <a:pt x="985" y="216"/>
                    <a:pt x="985" y="216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984" y="218"/>
                    <a:pt x="984" y="219"/>
                    <a:pt x="983" y="219"/>
                  </a:cubicBezTo>
                  <a:cubicBezTo>
                    <a:pt x="983" y="220"/>
                    <a:pt x="982" y="221"/>
                    <a:pt x="982" y="222"/>
                  </a:cubicBezTo>
                  <a:cubicBezTo>
                    <a:pt x="981" y="223"/>
                    <a:pt x="980" y="224"/>
                    <a:pt x="980" y="226"/>
                  </a:cubicBezTo>
                  <a:cubicBezTo>
                    <a:pt x="979" y="227"/>
                    <a:pt x="978" y="228"/>
                    <a:pt x="978" y="229"/>
                  </a:cubicBezTo>
                  <a:cubicBezTo>
                    <a:pt x="977" y="230"/>
                    <a:pt x="976" y="231"/>
                    <a:pt x="976" y="232"/>
                  </a:cubicBezTo>
                  <a:cubicBezTo>
                    <a:pt x="975" y="233"/>
                    <a:pt x="975" y="234"/>
                    <a:pt x="974" y="235"/>
                  </a:cubicBezTo>
                  <a:cubicBezTo>
                    <a:pt x="973" y="236"/>
                    <a:pt x="973" y="237"/>
                    <a:pt x="972" y="238"/>
                  </a:cubicBezTo>
                  <a:cubicBezTo>
                    <a:pt x="971" y="239"/>
                    <a:pt x="971" y="240"/>
                    <a:pt x="970" y="241"/>
                  </a:cubicBezTo>
                  <a:cubicBezTo>
                    <a:pt x="970" y="242"/>
                    <a:pt x="969" y="243"/>
                    <a:pt x="968" y="244"/>
                  </a:cubicBezTo>
                  <a:cubicBezTo>
                    <a:pt x="968" y="245"/>
                    <a:pt x="967" y="246"/>
                    <a:pt x="966" y="247"/>
                  </a:cubicBezTo>
                  <a:cubicBezTo>
                    <a:pt x="966" y="248"/>
                    <a:pt x="965" y="249"/>
                    <a:pt x="965" y="250"/>
                  </a:cubicBezTo>
                  <a:cubicBezTo>
                    <a:pt x="964" y="251"/>
                    <a:pt x="963" y="252"/>
                    <a:pt x="963" y="253"/>
                  </a:cubicBezTo>
                  <a:cubicBezTo>
                    <a:pt x="962" y="254"/>
                    <a:pt x="961" y="255"/>
                    <a:pt x="961" y="256"/>
                  </a:cubicBezTo>
                  <a:cubicBezTo>
                    <a:pt x="960" y="257"/>
                    <a:pt x="960" y="258"/>
                    <a:pt x="959" y="259"/>
                  </a:cubicBezTo>
                  <a:cubicBezTo>
                    <a:pt x="958" y="260"/>
                    <a:pt x="958" y="262"/>
                    <a:pt x="957" y="263"/>
                  </a:cubicBezTo>
                  <a:cubicBezTo>
                    <a:pt x="956" y="264"/>
                    <a:pt x="956" y="265"/>
                    <a:pt x="955" y="266"/>
                  </a:cubicBezTo>
                  <a:cubicBezTo>
                    <a:pt x="954" y="267"/>
                    <a:pt x="954" y="268"/>
                    <a:pt x="953" y="269"/>
                  </a:cubicBezTo>
                  <a:cubicBezTo>
                    <a:pt x="953" y="270"/>
                    <a:pt x="952" y="271"/>
                    <a:pt x="951" y="272"/>
                  </a:cubicBezTo>
                  <a:cubicBezTo>
                    <a:pt x="951" y="273"/>
                    <a:pt x="950" y="274"/>
                    <a:pt x="949" y="275"/>
                  </a:cubicBezTo>
                  <a:cubicBezTo>
                    <a:pt x="949" y="276"/>
                    <a:pt x="948" y="277"/>
                    <a:pt x="948" y="278"/>
                  </a:cubicBezTo>
                  <a:cubicBezTo>
                    <a:pt x="947" y="279"/>
                    <a:pt x="946" y="280"/>
                    <a:pt x="946" y="281"/>
                  </a:cubicBezTo>
                  <a:cubicBezTo>
                    <a:pt x="945" y="282"/>
                    <a:pt x="944" y="283"/>
                    <a:pt x="944" y="284"/>
                  </a:cubicBezTo>
                  <a:cubicBezTo>
                    <a:pt x="943" y="285"/>
                    <a:pt x="942" y="286"/>
                    <a:pt x="942" y="287"/>
                  </a:cubicBezTo>
                  <a:cubicBezTo>
                    <a:pt x="941" y="288"/>
                    <a:pt x="941" y="289"/>
                    <a:pt x="940" y="290"/>
                  </a:cubicBezTo>
                  <a:cubicBezTo>
                    <a:pt x="939" y="291"/>
                    <a:pt x="939" y="292"/>
                    <a:pt x="938" y="293"/>
                  </a:cubicBezTo>
                  <a:cubicBezTo>
                    <a:pt x="937" y="294"/>
                    <a:pt x="937" y="295"/>
                    <a:pt x="936" y="297"/>
                  </a:cubicBezTo>
                  <a:cubicBezTo>
                    <a:pt x="936" y="298"/>
                    <a:pt x="935" y="299"/>
                    <a:pt x="934" y="300"/>
                  </a:cubicBezTo>
                  <a:cubicBezTo>
                    <a:pt x="934" y="301"/>
                    <a:pt x="933" y="302"/>
                    <a:pt x="932" y="303"/>
                  </a:cubicBezTo>
                  <a:cubicBezTo>
                    <a:pt x="932" y="304"/>
                    <a:pt x="931" y="305"/>
                    <a:pt x="930" y="306"/>
                  </a:cubicBezTo>
                  <a:cubicBezTo>
                    <a:pt x="930" y="307"/>
                    <a:pt x="929" y="308"/>
                    <a:pt x="929" y="309"/>
                  </a:cubicBezTo>
                  <a:cubicBezTo>
                    <a:pt x="928" y="310"/>
                    <a:pt x="928" y="310"/>
                    <a:pt x="927" y="311"/>
                  </a:cubicBezTo>
                  <a:cubicBezTo>
                    <a:pt x="927" y="311"/>
                    <a:pt x="927" y="311"/>
                    <a:pt x="927" y="311"/>
                  </a:cubicBezTo>
                  <a:cubicBezTo>
                    <a:pt x="927" y="311"/>
                    <a:pt x="927" y="312"/>
                    <a:pt x="927" y="312"/>
                  </a:cubicBezTo>
                  <a:cubicBezTo>
                    <a:pt x="926" y="313"/>
                    <a:pt x="926" y="313"/>
                    <a:pt x="925" y="314"/>
                  </a:cubicBezTo>
                  <a:cubicBezTo>
                    <a:pt x="925" y="315"/>
                    <a:pt x="924" y="316"/>
                    <a:pt x="924" y="317"/>
                  </a:cubicBezTo>
                  <a:cubicBezTo>
                    <a:pt x="923" y="318"/>
                    <a:pt x="922" y="319"/>
                    <a:pt x="922" y="320"/>
                  </a:cubicBezTo>
                  <a:cubicBezTo>
                    <a:pt x="921" y="321"/>
                    <a:pt x="920" y="322"/>
                    <a:pt x="920" y="323"/>
                  </a:cubicBezTo>
                  <a:cubicBezTo>
                    <a:pt x="919" y="324"/>
                    <a:pt x="919" y="325"/>
                    <a:pt x="918" y="326"/>
                  </a:cubicBezTo>
                  <a:cubicBezTo>
                    <a:pt x="917" y="327"/>
                    <a:pt x="917" y="328"/>
                    <a:pt x="916" y="329"/>
                  </a:cubicBezTo>
                  <a:cubicBezTo>
                    <a:pt x="915" y="330"/>
                    <a:pt x="915" y="331"/>
                    <a:pt x="914" y="332"/>
                  </a:cubicBezTo>
                  <a:cubicBezTo>
                    <a:pt x="913" y="333"/>
                    <a:pt x="913" y="334"/>
                    <a:pt x="912" y="335"/>
                  </a:cubicBezTo>
                  <a:cubicBezTo>
                    <a:pt x="912" y="336"/>
                    <a:pt x="911" y="338"/>
                    <a:pt x="910" y="339"/>
                  </a:cubicBezTo>
                  <a:cubicBezTo>
                    <a:pt x="910" y="340"/>
                    <a:pt x="909" y="341"/>
                    <a:pt x="908" y="342"/>
                  </a:cubicBezTo>
                  <a:cubicBezTo>
                    <a:pt x="908" y="343"/>
                    <a:pt x="907" y="344"/>
                    <a:pt x="907" y="345"/>
                  </a:cubicBezTo>
                  <a:cubicBezTo>
                    <a:pt x="906" y="346"/>
                    <a:pt x="905" y="347"/>
                    <a:pt x="905" y="348"/>
                  </a:cubicBezTo>
                  <a:cubicBezTo>
                    <a:pt x="904" y="349"/>
                    <a:pt x="903" y="350"/>
                    <a:pt x="903" y="351"/>
                  </a:cubicBezTo>
                  <a:cubicBezTo>
                    <a:pt x="902" y="352"/>
                    <a:pt x="901" y="353"/>
                    <a:pt x="901" y="354"/>
                  </a:cubicBezTo>
                  <a:cubicBezTo>
                    <a:pt x="900" y="355"/>
                    <a:pt x="899" y="356"/>
                    <a:pt x="899" y="357"/>
                  </a:cubicBezTo>
                  <a:cubicBezTo>
                    <a:pt x="898" y="358"/>
                    <a:pt x="898" y="359"/>
                    <a:pt x="897" y="360"/>
                  </a:cubicBezTo>
                  <a:cubicBezTo>
                    <a:pt x="896" y="361"/>
                    <a:pt x="896" y="362"/>
                    <a:pt x="895" y="363"/>
                  </a:cubicBezTo>
                  <a:cubicBezTo>
                    <a:pt x="894" y="364"/>
                    <a:pt x="894" y="365"/>
                    <a:pt x="893" y="366"/>
                  </a:cubicBezTo>
                  <a:cubicBezTo>
                    <a:pt x="893" y="367"/>
                    <a:pt x="892" y="368"/>
                    <a:pt x="891" y="369"/>
                  </a:cubicBezTo>
                  <a:cubicBezTo>
                    <a:pt x="891" y="370"/>
                    <a:pt x="890" y="371"/>
                    <a:pt x="889" y="372"/>
                  </a:cubicBezTo>
                  <a:cubicBezTo>
                    <a:pt x="889" y="373"/>
                    <a:pt x="888" y="375"/>
                    <a:pt x="887" y="376"/>
                  </a:cubicBezTo>
                  <a:cubicBezTo>
                    <a:pt x="887" y="377"/>
                    <a:pt x="886" y="378"/>
                    <a:pt x="886" y="379"/>
                  </a:cubicBezTo>
                  <a:cubicBezTo>
                    <a:pt x="885" y="380"/>
                    <a:pt x="884" y="381"/>
                    <a:pt x="884" y="382"/>
                  </a:cubicBezTo>
                  <a:cubicBezTo>
                    <a:pt x="883" y="383"/>
                    <a:pt x="882" y="384"/>
                    <a:pt x="882" y="385"/>
                  </a:cubicBezTo>
                  <a:cubicBezTo>
                    <a:pt x="881" y="386"/>
                    <a:pt x="880" y="387"/>
                    <a:pt x="880" y="388"/>
                  </a:cubicBezTo>
                  <a:cubicBezTo>
                    <a:pt x="879" y="389"/>
                    <a:pt x="879" y="390"/>
                    <a:pt x="878" y="391"/>
                  </a:cubicBezTo>
                  <a:cubicBezTo>
                    <a:pt x="877" y="392"/>
                    <a:pt x="877" y="393"/>
                    <a:pt x="876" y="394"/>
                  </a:cubicBezTo>
                  <a:cubicBezTo>
                    <a:pt x="875" y="395"/>
                    <a:pt x="875" y="396"/>
                    <a:pt x="874" y="397"/>
                  </a:cubicBezTo>
                  <a:cubicBezTo>
                    <a:pt x="873" y="398"/>
                    <a:pt x="873" y="399"/>
                    <a:pt x="872" y="400"/>
                  </a:cubicBezTo>
                  <a:cubicBezTo>
                    <a:pt x="872" y="401"/>
                    <a:pt x="871" y="402"/>
                    <a:pt x="870" y="403"/>
                  </a:cubicBezTo>
                  <a:cubicBezTo>
                    <a:pt x="870" y="404"/>
                    <a:pt x="869" y="405"/>
                    <a:pt x="868" y="406"/>
                  </a:cubicBezTo>
                  <a:cubicBezTo>
                    <a:pt x="868" y="407"/>
                    <a:pt x="867" y="408"/>
                    <a:pt x="866" y="409"/>
                  </a:cubicBezTo>
                  <a:cubicBezTo>
                    <a:pt x="866" y="411"/>
                    <a:pt x="865" y="412"/>
                    <a:pt x="865" y="413"/>
                  </a:cubicBezTo>
                  <a:cubicBezTo>
                    <a:pt x="864" y="414"/>
                    <a:pt x="863" y="415"/>
                    <a:pt x="863" y="416"/>
                  </a:cubicBezTo>
                  <a:cubicBezTo>
                    <a:pt x="862" y="416"/>
                    <a:pt x="862" y="417"/>
                    <a:pt x="862" y="417"/>
                  </a:cubicBezTo>
                  <a:cubicBezTo>
                    <a:pt x="861" y="417"/>
                    <a:pt x="861" y="418"/>
                    <a:pt x="861" y="418"/>
                  </a:cubicBezTo>
                  <a:cubicBezTo>
                    <a:pt x="861" y="418"/>
                    <a:pt x="861" y="418"/>
                    <a:pt x="861" y="419"/>
                  </a:cubicBezTo>
                  <a:cubicBezTo>
                    <a:pt x="860" y="419"/>
                    <a:pt x="860" y="420"/>
                    <a:pt x="860" y="420"/>
                  </a:cubicBezTo>
                  <a:cubicBezTo>
                    <a:pt x="859" y="421"/>
                    <a:pt x="858" y="422"/>
                    <a:pt x="858" y="423"/>
                  </a:cubicBezTo>
                  <a:cubicBezTo>
                    <a:pt x="857" y="424"/>
                    <a:pt x="856" y="426"/>
                    <a:pt x="856" y="427"/>
                  </a:cubicBezTo>
                  <a:cubicBezTo>
                    <a:pt x="855" y="428"/>
                    <a:pt x="855" y="429"/>
                    <a:pt x="854" y="430"/>
                  </a:cubicBezTo>
                  <a:cubicBezTo>
                    <a:pt x="853" y="431"/>
                    <a:pt x="853" y="432"/>
                    <a:pt x="852" y="433"/>
                  </a:cubicBezTo>
                  <a:cubicBezTo>
                    <a:pt x="851" y="434"/>
                    <a:pt x="851" y="435"/>
                    <a:pt x="850" y="436"/>
                  </a:cubicBezTo>
                  <a:cubicBezTo>
                    <a:pt x="849" y="437"/>
                    <a:pt x="849" y="438"/>
                    <a:pt x="848" y="439"/>
                  </a:cubicBezTo>
                  <a:cubicBezTo>
                    <a:pt x="848" y="440"/>
                    <a:pt x="847" y="441"/>
                    <a:pt x="846" y="442"/>
                  </a:cubicBezTo>
                  <a:cubicBezTo>
                    <a:pt x="846" y="443"/>
                    <a:pt x="845" y="444"/>
                    <a:pt x="844" y="445"/>
                  </a:cubicBezTo>
                  <a:cubicBezTo>
                    <a:pt x="844" y="446"/>
                    <a:pt x="843" y="447"/>
                    <a:pt x="842" y="448"/>
                  </a:cubicBezTo>
                  <a:cubicBezTo>
                    <a:pt x="842" y="449"/>
                    <a:pt x="841" y="450"/>
                    <a:pt x="841" y="451"/>
                  </a:cubicBezTo>
                  <a:cubicBezTo>
                    <a:pt x="840" y="452"/>
                    <a:pt x="839" y="453"/>
                    <a:pt x="839" y="454"/>
                  </a:cubicBezTo>
                  <a:cubicBezTo>
                    <a:pt x="838" y="455"/>
                    <a:pt x="837" y="456"/>
                    <a:pt x="837" y="457"/>
                  </a:cubicBezTo>
                  <a:cubicBezTo>
                    <a:pt x="836" y="458"/>
                    <a:pt x="835" y="459"/>
                    <a:pt x="835" y="460"/>
                  </a:cubicBezTo>
                  <a:cubicBezTo>
                    <a:pt x="834" y="461"/>
                    <a:pt x="833" y="462"/>
                    <a:pt x="833" y="464"/>
                  </a:cubicBezTo>
                  <a:cubicBezTo>
                    <a:pt x="832" y="465"/>
                    <a:pt x="832" y="466"/>
                    <a:pt x="831" y="467"/>
                  </a:cubicBezTo>
                  <a:cubicBezTo>
                    <a:pt x="830" y="468"/>
                    <a:pt x="830" y="469"/>
                    <a:pt x="829" y="470"/>
                  </a:cubicBezTo>
                  <a:cubicBezTo>
                    <a:pt x="828" y="471"/>
                    <a:pt x="828" y="472"/>
                    <a:pt x="827" y="473"/>
                  </a:cubicBezTo>
                  <a:cubicBezTo>
                    <a:pt x="826" y="474"/>
                    <a:pt x="826" y="475"/>
                    <a:pt x="825" y="476"/>
                  </a:cubicBezTo>
                  <a:cubicBezTo>
                    <a:pt x="825" y="477"/>
                    <a:pt x="824" y="478"/>
                    <a:pt x="823" y="479"/>
                  </a:cubicBezTo>
                  <a:cubicBezTo>
                    <a:pt x="823" y="480"/>
                    <a:pt x="822" y="481"/>
                    <a:pt x="821" y="482"/>
                  </a:cubicBezTo>
                  <a:cubicBezTo>
                    <a:pt x="821" y="483"/>
                    <a:pt x="820" y="484"/>
                    <a:pt x="819" y="485"/>
                  </a:cubicBezTo>
                  <a:cubicBezTo>
                    <a:pt x="819" y="486"/>
                    <a:pt x="818" y="487"/>
                    <a:pt x="818" y="488"/>
                  </a:cubicBezTo>
                  <a:cubicBezTo>
                    <a:pt x="817" y="489"/>
                    <a:pt x="816" y="490"/>
                    <a:pt x="816" y="491"/>
                  </a:cubicBezTo>
                  <a:cubicBezTo>
                    <a:pt x="815" y="492"/>
                    <a:pt x="814" y="493"/>
                    <a:pt x="814" y="494"/>
                  </a:cubicBezTo>
                  <a:cubicBezTo>
                    <a:pt x="813" y="495"/>
                    <a:pt x="812" y="496"/>
                    <a:pt x="812" y="497"/>
                  </a:cubicBezTo>
                  <a:cubicBezTo>
                    <a:pt x="811" y="498"/>
                    <a:pt x="810" y="499"/>
                    <a:pt x="810" y="500"/>
                  </a:cubicBezTo>
                  <a:cubicBezTo>
                    <a:pt x="809" y="501"/>
                    <a:pt x="809" y="502"/>
                    <a:pt x="808" y="504"/>
                  </a:cubicBezTo>
                  <a:cubicBezTo>
                    <a:pt x="807" y="505"/>
                    <a:pt x="807" y="506"/>
                    <a:pt x="806" y="507"/>
                  </a:cubicBezTo>
                  <a:cubicBezTo>
                    <a:pt x="805" y="508"/>
                    <a:pt x="805" y="509"/>
                    <a:pt x="804" y="510"/>
                  </a:cubicBezTo>
                  <a:cubicBezTo>
                    <a:pt x="803" y="511"/>
                    <a:pt x="803" y="512"/>
                    <a:pt x="802" y="513"/>
                  </a:cubicBezTo>
                  <a:cubicBezTo>
                    <a:pt x="801" y="514"/>
                    <a:pt x="801" y="515"/>
                    <a:pt x="800" y="516"/>
                  </a:cubicBezTo>
                  <a:cubicBezTo>
                    <a:pt x="800" y="517"/>
                    <a:pt x="799" y="518"/>
                    <a:pt x="798" y="519"/>
                  </a:cubicBezTo>
                  <a:cubicBezTo>
                    <a:pt x="798" y="520"/>
                    <a:pt x="797" y="521"/>
                    <a:pt x="796" y="522"/>
                  </a:cubicBezTo>
                  <a:cubicBezTo>
                    <a:pt x="796" y="523"/>
                    <a:pt x="795" y="524"/>
                    <a:pt x="794" y="525"/>
                  </a:cubicBezTo>
                  <a:cubicBezTo>
                    <a:pt x="794" y="526"/>
                    <a:pt x="793" y="527"/>
                    <a:pt x="793" y="528"/>
                  </a:cubicBezTo>
                  <a:cubicBezTo>
                    <a:pt x="792" y="529"/>
                    <a:pt x="791" y="530"/>
                    <a:pt x="791" y="531"/>
                  </a:cubicBezTo>
                  <a:cubicBezTo>
                    <a:pt x="790" y="532"/>
                    <a:pt x="789" y="533"/>
                    <a:pt x="789" y="534"/>
                  </a:cubicBezTo>
                  <a:cubicBezTo>
                    <a:pt x="788" y="535"/>
                    <a:pt x="787" y="536"/>
                    <a:pt x="787" y="537"/>
                  </a:cubicBezTo>
                  <a:cubicBezTo>
                    <a:pt x="786" y="538"/>
                    <a:pt x="785" y="539"/>
                    <a:pt x="785" y="541"/>
                  </a:cubicBezTo>
                  <a:cubicBezTo>
                    <a:pt x="785" y="541"/>
                    <a:pt x="784" y="541"/>
                    <a:pt x="784" y="542"/>
                  </a:cubicBezTo>
                  <a:cubicBezTo>
                    <a:pt x="783" y="543"/>
                    <a:pt x="783" y="544"/>
                    <a:pt x="782" y="545"/>
                  </a:cubicBezTo>
                  <a:cubicBezTo>
                    <a:pt x="781" y="546"/>
                    <a:pt x="781" y="547"/>
                    <a:pt x="780" y="548"/>
                  </a:cubicBezTo>
                  <a:cubicBezTo>
                    <a:pt x="779" y="549"/>
                    <a:pt x="779" y="550"/>
                    <a:pt x="778" y="551"/>
                  </a:cubicBezTo>
                  <a:cubicBezTo>
                    <a:pt x="778" y="552"/>
                    <a:pt x="777" y="553"/>
                    <a:pt x="776" y="554"/>
                  </a:cubicBezTo>
                  <a:cubicBezTo>
                    <a:pt x="776" y="555"/>
                    <a:pt x="775" y="556"/>
                    <a:pt x="774" y="557"/>
                  </a:cubicBezTo>
                  <a:cubicBezTo>
                    <a:pt x="774" y="558"/>
                    <a:pt x="773" y="559"/>
                    <a:pt x="772" y="560"/>
                  </a:cubicBezTo>
                  <a:cubicBezTo>
                    <a:pt x="772" y="561"/>
                    <a:pt x="771" y="562"/>
                    <a:pt x="771" y="563"/>
                  </a:cubicBezTo>
                  <a:cubicBezTo>
                    <a:pt x="770" y="564"/>
                    <a:pt x="769" y="565"/>
                    <a:pt x="769" y="566"/>
                  </a:cubicBezTo>
                  <a:cubicBezTo>
                    <a:pt x="768" y="567"/>
                    <a:pt x="767" y="568"/>
                    <a:pt x="767" y="569"/>
                  </a:cubicBezTo>
                  <a:cubicBezTo>
                    <a:pt x="766" y="570"/>
                    <a:pt x="765" y="571"/>
                    <a:pt x="765" y="573"/>
                  </a:cubicBezTo>
                  <a:cubicBezTo>
                    <a:pt x="764" y="574"/>
                    <a:pt x="763" y="575"/>
                    <a:pt x="763" y="576"/>
                  </a:cubicBezTo>
                  <a:cubicBezTo>
                    <a:pt x="762" y="577"/>
                    <a:pt x="762" y="578"/>
                    <a:pt x="761" y="579"/>
                  </a:cubicBezTo>
                  <a:cubicBezTo>
                    <a:pt x="760" y="580"/>
                    <a:pt x="760" y="581"/>
                    <a:pt x="759" y="582"/>
                  </a:cubicBezTo>
                  <a:cubicBezTo>
                    <a:pt x="758" y="583"/>
                    <a:pt x="758" y="584"/>
                    <a:pt x="757" y="585"/>
                  </a:cubicBezTo>
                  <a:cubicBezTo>
                    <a:pt x="756" y="586"/>
                    <a:pt x="756" y="587"/>
                    <a:pt x="755" y="588"/>
                  </a:cubicBezTo>
                  <a:cubicBezTo>
                    <a:pt x="754" y="589"/>
                    <a:pt x="754" y="590"/>
                    <a:pt x="753" y="591"/>
                  </a:cubicBezTo>
                  <a:cubicBezTo>
                    <a:pt x="753" y="592"/>
                    <a:pt x="752" y="593"/>
                    <a:pt x="751" y="594"/>
                  </a:cubicBezTo>
                  <a:cubicBezTo>
                    <a:pt x="751" y="595"/>
                    <a:pt x="750" y="596"/>
                    <a:pt x="749" y="597"/>
                  </a:cubicBezTo>
                  <a:cubicBezTo>
                    <a:pt x="749" y="598"/>
                    <a:pt x="748" y="599"/>
                    <a:pt x="747" y="600"/>
                  </a:cubicBezTo>
                  <a:cubicBezTo>
                    <a:pt x="747" y="601"/>
                    <a:pt x="746" y="602"/>
                    <a:pt x="746" y="603"/>
                  </a:cubicBezTo>
                  <a:cubicBezTo>
                    <a:pt x="745" y="604"/>
                    <a:pt x="744" y="605"/>
                    <a:pt x="744" y="606"/>
                  </a:cubicBezTo>
                  <a:cubicBezTo>
                    <a:pt x="743" y="607"/>
                    <a:pt x="742" y="608"/>
                    <a:pt x="742" y="609"/>
                  </a:cubicBezTo>
                  <a:cubicBezTo>
                    <a:pt x="741" y="610"/>
                    <a:pt x="740" y="611"/>
                    <a:pt x="740" y="613"/>
                  </a:cubicBezTo>
                  <a:cubicBezTo>
                    <a:pt x="739" y="614"/>
                    <a:pt x="738" y="615"/>
                    <a:pt x="738" y="616"/>
                  </a:cubicBezTo>
                  <a:cubicBezTo>
                    <a:pt x="737" y="617"/>
                    <a:pt x="736" y="618"/>
                    <a:pt x="736" y="619"/>
                  </a:cubicBezTo>
                  <a:cubicBezTo>
                    <a:pt x="735" y="620"/>
                    <a:pt x="735" y="621"/>
                    <a:pt x="734" y="622"/>
                  </a:cubicBezTo>
                  <a:cubicBezTo>
                    <a:pt x="733" y="623"/>
                    <a:pt x="733" y="624"/>
                    <a:pt x="732" y="625"/>
                  </a:cubicBezTo>
                  <a:cubicBezTo>
                    <a:pt x="731" y="626"/>
                    <a:pt x="731" y="627"/>
                    <a:pt x="730" y="628"/>
                  </a:cubicBezTo>
                  <a:cubicBezTo>
                    <a:pt x="729" y="629"/>
                    <a:pt x="729" y="630"/>
                    <a:pt x="728" y="631"/>
                  </a:cubicBezTo>
                  <a:cubicBezTo>
                    <a:pt x="727" y="632"/>
                    <a:pt x="727" y="633"/>
                    <a:pt x="726" y="634"/>
                  </a:cubicBezTo>
                  <a:cubicBezTo>
                    <a:pt x="726" y="635"/>
                    <a:pt x="725" y="636"/>
                    <a:pt x="724" y="637"/>
                  </a:cubicBezTo>
                  <a:cubicBezTo>
                    <a:pt x="724" y="638"/>
                    <a:pt x="723" y="639"/>
                    <a:pt x="722" y="640"/>
                  </a:cubicBezTo>
                  <a:cubicBezTo>
                    <a:pt x="722" y="641"/>
                    <a:pt x="721" y="642"/>
                    <a:pt x="720" y="643"/>
                  </a:cubicBezTo>
                  <a:cubicBezTo>
                    <a:pt x="720" y="644"/>
                    <a:pt x="719" y="645"/>
                    <a:pt x="718" y="646"/>
                  </a:cubicBezTo>
                  <a:cubicBezTo>
                    <a:pt x="718" y="647"/>
                    <a:pt x="717" y="648"/>
                    <a:pt x="717" y="649"/>
                  </a:cubicBezTo>
                  <a:cubicBezTo>
                    <a:pt x="716" y="650"/>
                    <a:pt x="715" y="651"/>
                    <a:pt x="715" y="653"/>
                  </a:cubicBezTo>
                  <a:cubicBezTo>
                    <a:pt x="714" y="654"/>
                    <a:pt x="713" y="655"/>
                    <a:pt x="713" y="656"/>
                  </a:cubicBezTo>
                  <a:cubicBezTo>
                    <a:pt x="712" y="657"/>
                    <a:pt x="711" y="658"/>
                    <a:pt x="711" y="659"/>
                  </a:cubicBezTo>
                  <a:cubicBezTo>
                    <a:pt x="710" y="660"/>
                    <a:pt x="709" y="661"/>
                    <a:pt x="709" y="662"/>
                  </a:cubicBezTo>
                  <a:cubicBezTo>
                    <a:pt x="708" y="663"/>
                    <a:pt x="707" y="664"/>
                    <a:pt x="707" y="665"/>
                  </a:cubicBezTo>
                  <a:cubicBezTo>
                    <a:pt x="706" y="666"/>
                    <a:pt x="706" y="667"/>
                    <a:pt x="705" y="668"/>
                  </a:cubicBezTo>
                  <a:cubicBezTo>
                    <a:pt x="704" y="669"/>
                    <a:pt x="704" y="670"/>
                    <a:pt x="703" y="671"/>
                  </a:cubicBezTo>
                  <a:cubicBezTo>
                    <a:pt x="702" y="672"/>
                    <a:pt x="702" y="673"/>
                    <a:pt x="701" y="674"/>
                  </a:cubicBezTo>
                  <a:cubicBezTo>
                    <a:pt x="700" y="675"/>
                    <a:pt x="700" y="676"/>
                    <a:pt x="699" y="677"/>
                  </a:cubicBezTo>
                  <a:cubicBezTo>
                    <a:pt x="698" y="678"/>
                    <a:pt x="698" y="679"/>
                    <a:pt x="697" y="680"/>
                  </a:cubicBezTo>
                  <a:cubicBezTo>
                    <a:pt x="697" y="681"/>
                    <a:pt x="696" y="682"/>
                    <a:pt x="695" y="683"/>
                  </a:cubicBezTo>
                  <a:cubicBezTo>
                    <a:pt x="695" y="684"/>
                    <a:pt x="694" y="685"/>
                    <a:pt x="693" y="686"/>
                  </a:cubicBezTo>
                  <a:cubicBezTo>
                    <a:pt x="693" y="687"/>
                    <a:pt x="693" y="687"/>
                    <a:pt x="693" y="687"/>
                  </a:cubicBezTo>
                  <a:cubicBezTo>
                    <a:pt x="693" y="687"/>
                    <a:pt x="692" y="688"/>
                    <a:pt x="692" y="688"/>
                  </a:cubicBezTo>
                  <a:cubicBezTo>
                    <a:pt x="692" y="688"/>
                    <a:pt x="692" y="689"/>
                    <a:pt x="691" y="689"/>
                  </a:cubicBezTo>
                  <a:cubicBezTo>
                    <a:pt x="691" y="690"/>
                    <a:pt x="691" y="690"/>
                    <a:pt x="691" y="690"/>
                  </a:cubicBezTo>
                  <a:cubicBezTo>
                    <a:pt x="690" y="691"/>
                    <a:pt x="690" y="692"/>
                    <a:pt x="689" y="693"/>
                  </a:cubicBezTo>
                  <a:cubicBezTo>
                    <a:pt x="688" y="694"/>
                    <a:pt x="688" y="695"/>
                    <a:pt x="687" y="696"/>
                  </a:cubicBezTo>
                  <a:cubicBezTo>
                    <a:pt x="686" y="697"/>
                    <a:pt x="686" y="698"/>
                    <a:pt x="685" y="699"/>
                  </a:cubicBezTo>
                  <a:cubicBezTo>
                    <a:pt x="684" y="700"/>
                    <a:pt x="684" y="701"/>
                    <a:pt x="683" y="702"/>
                  </a:cubicBezTo>
                  <a:cubicBezTo>
                    <a:pt x="682" y="703"/>
                    <a:pt x="682" y="705"/>
                    <a:pt x="681" y="706"/>
                  </a:cubicBezTo>
                  <a:cubicBezTo>
                    <a:pt x="681" y="707"/>
                    <a:pt x="680" y="708"/>
                    <a:pt x="679" y="709"/>
                  </a:cubicBezTo>
                  <a:cubicBezTo>
                    <a:pt x="679" y="710"/>
                    <a:pt x="678" y="711"/>
                    <a:pt x="677" y="712"/>
                  </a:cubicBezTo>
                  <a:cubicBezTo>
                    <a:pt x="677" y="713"/>
                    <a:pt x="676" y="714"/>
                    <a:pt x="675" y="715"/>
                  </a:cubicBezTo>
                  <a:cubicBezTo>
                    <a:pt x="668" y="726"/>
                    <a:pt x="663" y="739"/>
                    <a:pt x="663" y="753"/>
                  </a:cubicBezTo>
                  <a:cubicBezTo>
                    <a:pt x="663" y="790"/>
                    <a:pt x="694" y="821"/>
                    <a:pt x="731" y="821"/>
                  </a:cubicBezTo>
                  <a:cubicBezTo>
                    <a:pt x="757" y="821"/>
                    <a:pt x="780" y="805"/>
                    <a:pt x="791" y="783"/>
                  </a:cubicBezTo>
                  <a:cubicBezTo>
                    <a:pt x="792" y="782"/>
                    <a:pt x="792" y="781"/>
                    <a:pt x="793" y="780"/>
                  </a:cubicBezTo>
                  <a:cubicBezTo>
                    <a:pt x="794" y="779"/>
                    <a:pt x="794" y="778"/>
                    <a:pt x="795" y="777"/>
                  </a:cubicBezTo>
                  <a:cubicBezTo>
                    <a:pt x="795" y="776"/>
                    <a:pt x="796" y="775"/>
                    <a:pt x="796" y="774"/>
                  </a:cubicBezTo>
                  <a:cubicBezTo>
                    <a:pt x="797" y="773"/>
                    <a:pt x="797" y="772"/>
                    <a:pt x="798" y="771"/>
                  </a:cubicBezTo>
                  <a:cubicBezTo>
                    <a:pt x="798" y="770"/>
                    <a:pt x="799" y="769"/>
                    <a:pt x="800" y="768"/>
                  </a:cubicBezTo>
                  <a:cubicBezTo>
                    <a:pt x="800" y="767"/>
                    <a:pt x="801" y="765"/>
                    <a:pt x="801" y="764"/>
                  </a:cubicBezTo>
                  <a:cubicBezTo>
                    <a:pt x="802" y="763"/>
                    <a:pt x="802" y="762"/>
                    <a:pt x="803" y="761"/>
                  </a:cubicBezTo>
                  <a:cubicBezTo>
                    <a:pt x="803" y="760"/>
                    <a:pt x="804" y="759"/>
                    <a:pt x="805" y="758"/>
                  </a:cubicBezTo>
                  <a:cubicBezTo>
                    <a:pt x="805" y="757"/>
                    <a:pt x="806" y="756"/>
                    <a:pt x="806" y="755"/>
                  </a:cubicBezTo>
                  <a:cubicBezTo>
                    <a:pt x="807" y="754"/>
                    <a:pt x="807" y="753"/>
                    <a:pt x="808" y="752"/>
                  </a:cubicBezTo>
                  <a:cubicBezTo>
                    <a:pt x="808" y="751"/>
                    <a:pt x="809" y="750"/>
                    <a:pt x="809" y="749"/>
                  </a:cubicBezTo>
                  <a:cubicBezTo>
                    <a:pt x="810" y="748"/>
                    <a:pt x="811" y="747"/>
                    <a:pt x="811" y="746"/>
                  </a:cubicBezTo>
                  <a:cubicBezTo>
                    <a:pt x="812" y="745"/>
                    <a:pt x="812" y="744"/>
                    <a:pt x="813" y="743"/>
                  </a:cubicBezTo>
                  <a:cubicBezTo>
                    <a:pt x="813" y="742"/>
                    <a:pt x="814" y="740"/>
                    <a:pt x="814" y="739"/>
                  </a:cubicBezTo>
                  <a:cubicBezTo>
                    <a:pt x="815" y="738"/>
                    <a:pt x="816" y="737"/>
                    <a:pt x="816" y="736"/>
                  </a:cubicBezTo>
                  <a:cubicBezTo>
                    <a:pt x="817" y="735"/>
                    <a:pt x="817" y="734"/>
                    <a:pt x="818" y="733"/>
                  </a:cubicBezTo>
                  <a:cubicBezTo>
                    <a:pt x="818" y="732"/>
                    <a:pt x="819" y="731"/>
                    <a:pt x="819" y="730"/>
                  </a:cubicBezTo>
                  <a:cubicBezTo>
                    <a:pt x="820" y="729"/>
                    <a:pt x="820" y="728"/>
                    <a:pt x="821" y="727"/>
                  </a:cubicBezTo>
                  <a:cubicBezTo>
                    <a:pt x="822" y="726"/>
                    <a:pt x="822" y="725"/>
                    <a:pt x="823" y="724"/>
                  </a:cubicBezTo>
                  <a:cubicBezTo>
                    <a:pt x="823" y="723"/>
                    <a:pt x="824" y="722"/>
                    <a:pt x="824" y="721"/>
                  </a:cubicBezTo>
                  <a:cubicBezTo>
                    <a:pt x="825" y="719"/>
                    <a:pt x="826" y="717"/>
                    <a:pt x="827" y="715"/>
                  </a:cubicBezTo>
                  <a:cubicBezTo>
                    <a:pt x="828" y="714"/>
                    <a:pt x="828" y="713"/>
                    <a:pt x="829" y="712"/>
                  </a:cubicBezTo>
                  <a:cubicBezTo>
                    <a:pt x="829" y="711"/>
                    <a:pt x="830" y="710"/>
                    <a:pt x="831" y="709"/>
                  </a:cubicBezTo>
                  <a:cubicBezTo>
                    <a:pt x="831" y="708"/>
                    <a:pt x="832" y="707"/>
                    <a:pt x="832" y="706"/>
                  </a:cubicBezTo>
                  <a:cubicBezTo>
                    <a:pt x="833" y="705"/>
                    <a:pt x="833" y="704"/>
                    <a:pt x="834" y="703"/>
                  </a:cubicBezTo>
                  <a:cubicBezTo>
                    <a:pt x="834" y="702"/>
                    <a:pt x="835" y="701"/>
                    <a:pt x="835" y="699"/>
                  </a:cubicBezTo>
                  <a:cubicBezTo>
                    <a:pt x="836" y="698"/>
                    <a:pt x="837" y="697"/>
                    <a:pt x="837" y="696"/>
                  </a:cubicBezTo>
                  <a:cubicBezTo>
                    <a:pt x="838" y="695"/>
                    <a:pt x="838" y="694"/>
                    <a:pt x="839" y="693"/>
                  </a:cubicBezTo>
                  <a:cubicBezTo>
                    <a:pt x="839" y="692"/>
                    <a:pt x="840" y="691"/>
                    <a:pt x="840" y="690"/>
                  </a:cubicBezTo>
                  <a:cubicBezTo>
                    <a:pt x="841" y="689"/>
                    <a:pt x="842" y="688"/>
                    <a:pt x="842" y="687"/>
                  </a:cubicBezTo>
                  <a:cubicBezTo>
                    <a:pt x="843" y="686"/>
                    <a:pt x="843" y="685"/>
                    <a:pt x="844" y="684"/>
                  </a:cubicBezTo>
                  <a:cubicBezTo>
                    <a:pt x="844" y="683"/>
                    <a:pt x="845" y="682"/>
                    <a:pt x="845" y="681"/>
                  </a:cubicBezTo>
                  <a:cubicBezTo>
                    <a:pt x="846" y="680"/>
                    <a:pt x="846" y="679"/>
                    <a:pt x="847" y="678"/>
                  </a:cubicBezTo>
                  <a:cubicBezTo>
                    <a:pt x="848" y="677"/>
                    <a:pt x="848" y="676"/>
                    <a:pt x="849" y="675"/>
                  </a:cubicBezTo>
                  <a:cubicBezTo>
                    <a:pt x="849" y="674"/>
                    <a:pt x="850" y="672"/>
                    <a:pt x="850" y="671"/>
                  </a:cubicBezTo>
                  <a:cubicBezTo>
                    <a:pt x="851" y="670"/>
                    <a:pt x="851" y="669"/>
                    <a:pt x="852" y="668"/>
                  </a:cubicBezTo>
                  <a:cubicBezTo>
                    <a:pt x="853" y="667"/>
                    <a:pt x="853" y="666"/>
                    <a:pt x="854" y="665"/>
                  </a:cubicBezTo>
                  <a:cubicBezTo>
                    <a:pt x="854" y="664"/>
                    <a:pt x="855" y="663"/>
                    <a:pt x="855" y="662"/>
                  </a:cubicBezTo>
                  <a:cubicBezTo>
                    <a:pt x="856" y="661"/>
                    <a:pt x="856" y="660"/>
                    <a:pt x="857" y="659"/>
                  </a:cubicBezTo>
                  <a:cubicBezTo>
                    <a:pt x="857" y="658"/>
                    <a:pt x="858" y="657"/>
                    <a:pt x="859" y="656"/>
                  </a:cubicBezTo>
                  <a:cubicBezTo>
                    <a:pt x="859" y="655"/>
                    <a:pt x="860" y="654"/>
                    <a:pt x="860" y="653"/>
                  </a:cubicBezTo>
                  <a:cubicBezTo>
                    <a:pt x="861" y="652"/>
                    <a:pt x="861" y="651"/>
                    <a:pt x="862" y="650"/>
                  </a:cubicBezTo>
                  <a:cubicBezTo>
                    <a:pt x="862" y="649"/>
                    <a:pt x="863" y="648"/>
                    <a:pt x="864" y="646"/>
                  </a:cubicBezTo>
                  <a:cubicBezTo>
                    <a:pt x="864" y="645"/>
                    <a:pt x="865" y="644"/>
                    <a:pt x="865" y="643"/>
                  </a:cubicBezTo>
                  <a:cubicBezTo>
                    <a:pt x="866" y="642"/>
                    <a:pt x="866" y="641"/>
                    <a:pt x="867" y="640"/>
                  </a:cubicBezTo>
                  <a:cubicBezTo>
                    <a:pt x="867" y="639"/>
                    <a:pt x="868" y="638"/>
                    <a:pt x="868" y="637"/>
                  </a:cubicBezTo>
                  <a:cubicBezTo>
                    <a:pt x="869" y="636"/>
                    <a:pt x="870" y="635"/>
                    <a:pt x="870" y="634"/>
                  </a:cubicBezTo>
                  <a:cubicBezTo>
                    <a:pt x="871" y="633"/>
                    <a:pt x="871" y="632"/>
                    <a:pt x="872" y="631"/>
                  </a:cubicBezTo>
                  <a:cubicBezTo>
                    <a:pt x="872" y="630"/>
                    <a:pt x="873" y="629"/>
                    <a:pt x="873" y="628"/>
                  </a:cubicBezTo>
                  <a:cubicBezTo>
                    <a:pt x="874" y="627"/>
                    <a:pt x="875" y="626"/>
                    <a:pt x="875" y="625"/>
                  </a:cubicBezTo>
                  <a:cubicBezTo>
                    <a:pt x="876" y="624"/>
                    <a:pt x="876" y="623"/>
                    <a:pt x="877" y="622"/>
                  </a:cubicBezTo>
                  <a:cubicBezTo>
                    <a:pt x="877" y="620"/>
                    <a:pt x="878" y="619"/>
                    <a:pt x="878" y="618"/>
                  </a:cubicBezTo>
                  <a:cubicBezTo>
                    <a:pt x="879" y="617"/>
                    <a:pt x="880" y="616"/>
                    <a:pt x="880" y="615"/>
                  </a:cubicBezTo>
                  <a:cubicBezTo>
                    <a:pt x="881" y="614"/>
                    <a:pt x="881" y="613"/>
                    <a:pt x="882" y="612"/>
                  </a:cubicBezTo>
                  <a:cubicBezTo>
                    <a:pt x="882" y="611"/>
                    <a:pt x="883" y="610"/>
                    <a:pt x="883" y="609"/>
                  </a:cubicBezTo>
                  <a:cubicBezTo>
                    <a:pt x="884" y="608"/>
                    <a:pt x="885" y="607"/>
                    <a:pt x="885" y="606"/>
                  </a:cubicBezTo>
                  <a:cubicBezTo>
                    <a:pt x="886" y="605"/>
                    <a:pt x="886" y="604"/>
                    <a:pt x="887" y="603"/>
                  </a:cubicBezTo>
                  <a:cubicBezTo>
                    <a:pt x="887" y="602"/>
                    <a:pt x="888" y="601"/>
                    <a:pt x="888" y="600"/>
                  </a:cubicBezTo>
                  <a:cubicBezTo>
                    <a:pt x="889" y="599"/>
                    <a:pt x="889" y="598"/>
                    <a:pt x="890" y="597"/>
                  </a:cubicBezTo>
                  <a:cubicBezTo>
                    <a:pt x="891" y="596"/>
                    <a:pt x="891" y="594"/>
                    <a:pt x="892" y="593"/>
                  </a:cubicBezTo>
                  <a:cubicBezTo>
                    <a:pt x="892" y="592"/>
                    <a:pt x="893" y="591"/>
                    <a:pt x="893" y="590"/>
                  </a:cubicBezTo>
                  <a:cubicBezTo>
                    <a:pt x="894" y="589"/>
                    <a:pt x="894" y="588"/>
                    <a:pt x="895" y="587"/>
                  </a:cubicBezTo>
                  <a:cubicBezTo>
                    <a:pt x="896" y="586"/>
                    <a:pt x="896" y="585"/>
                    <a:pt x="897" y="584"/>
                  </a:cubicBezTo>
                  <a:cubicBezTo>
                    <a:pt x="897" y="583"/>
                    <a:pt x="898" y="582"/>
                    <a:pt x="898" y="581"/>
                  </a:cubicBezTo>
                  <a:cubicBezTo>
                    <a:pt x="899" y="580"/>
                    <a:pt x="899" y="579"/>
                    <a:pt x="900" y="578"/>
                  </a:cubicBezTo>
                  <a:cubicBezTo>
                    <a:pt x="901" y="577"/>
                    <a:pt x="901" y="576"/>
                    <a:pt x="902" y="575"/>
                  </a:cubicBezTo>
                  <a:cubicBezTo>
                    <a:pt x="902" y="574"/>
                    <a:pt x="903" y="573"/>
                    <a:pt x="903" y="572"/>
                  </a:cubicBezTo>
                  <a:cubicBezTo>
                    <a:pt x="904" y="571"/>
                    <a:pt x="904" y="570"/>
                    <a:pt x="905" y="568"/>
                  </a:cubicBezTo>
                  <a:cubicBezTo>
                    <a:pt x="906" y="567"/>
                    <a:pt x="906" y="566"/>
                    <a:pt x="907" y="565"/>
                  </a:cubicBezTo>
                  <a:cubicBezTo>
                    <a:pt x="907" y="564"/>
                    <a:pt x="908" y="563"/>
                    <a:pt x="908" y="562"/>
                  </a:cubicBezTo>
                  <a:cubicBezTo>
                    <a:pt x="909" y="561"/>
                    <a:pt x="910" y="559"/>
                    <a:pt x="911" y="557"/>
                  </a:cubicBezTo>
                  <a:cubicBezTo>
                    <a:pt x="912" y="556"/>
                    <a:pt x="912" y="555"/>
                    <a:pt x="913" y="554"/>
                  </a:cubicBezTo>
                  <a:cubicBezTo>
                    <a:pt x="913" y="553"/>
                    <a:pt x="914" y="552"/>
                    <a:pt x="914" y="551"/>
                  </a:cubicBezTo>
                  <a:cubicBezTo>
                    <a:pt x="915" y="550"/>
                    <a:pt x="915" y="549"/>
                    <a:pt x="916" y="548"/>
                  </a:cubicBezTo>
                  <a:cubicBezTo>
                    <a:pt x="917" y="547"/>
                    <a:pt x="917" y="546"/>
                    <a:pt x="918" y="545"/>
                  </a:cubicBezTo>
                  <a:cubicBezTo>
                    <a:pt x="918" y="544"/>
                    <a:pt x="919" y="543"/>
                    <a:pt x="919" y="542"/>
                  </a:cubicBezTo>
                  <a:cubicBezTo>
                    <a:pt x="920" y="541"/>
                    <a:pt x="920" y="540"/>
                    <a:pt x="921" y="538"/>
                  </a:cubicBezTo>
                  <a:cubicBezTo>
                    <a:pt x="921" y="537"/>
                    <a:pt x="922" y="536"/>
                    <a:pt x="923" y="535"/>
                  </a:cubicBezTo>
                  <a:cubicBezTo>
                    <a:pt x="923" y="534"/>
                    <a:pt x="924" y="533"/>
                    <a:pt x="924" y="532"/>
                  </a:cubicBezTo>
                  <a:cubicBezTo>
                    <a:pt x="925" y="531"/>
                    <a:pt x="925" y="530"/>
                    <a:pt x="926" y="529"/>
                  </a:cubicBezTo>
                  <a:cubicBezTo>
                    <a:pt x="926" y="528"/>
                    <a:pt x="927" y="527"/>
                    <a:pt x="928" y="526"/>
                  </a:cubicBezTo>
                  <a:cubicBezTo>
                    <a:pt x="928" y="525"/>
                    <a:pt x="929" y="524"/>
                    <a:pt x="929" y="523"/>
                  </a:cubicBezTo>
                  <a:cubicBezTo>
                    <a:pt x="930" y="522"/>
                    <a:pt x="930" y="521"/>
                    <a:pt x="931" y="520"/>
                  </a:cubicBezTo>
                  <a:cubicBezTo>
                    <a:pt x="931" y="519"/>
                    <a:pt x="932" y="518"/>
                    <a:pt x="933" y="517"/>
                  </a:cubicBezTo>
                  <a:cubicBezTo>
                    <a:pt x="933" y="516"/>
                    <a:pt x="934" y="515"/>
                    <a:pt x="934" y="514"/>
                  </a:cubicBezTo>
                  <a:cubicBezTo>
                    <a:pt x="935" y="513"/>
                    <a:pt x="935" y="512"/>
                    <a:pt x="936" y="510"/>
                  </a:cubicBezTo>
                  <a:cubicBezTo>
                    <a:pt x="936" y="509"/>
                    <a:pt x="937" y="508"/>
                    <a:pt x="938" y="507"/>
                  </a:cubicBezTo>
                  <a:cubicBezTo>
                    <a:pt x="938" y="506"/>
                    <a:pt x="939" y="505"/>
                    <a:pt x="939" y="504"/>
                  </a:cubicBezTo>
                  <a:cubicBezTo>
                    <a:pt x="940" y="503"/>
                    <a:pt x="940" y="502"/>
                    <a:pt x="941" y="501"/>
                  </a:cubicBezTo>
                  <a:cubicBezTo>
                    <a:pt x="941" y="500"/>
                    <a:pt x="942" y="499"/>
                    <a:pt x="943" y="498"/>
                  </a:cubicBezTo>
                  <a:cubicBezTo>
                    <a:pt x="943" y="497"/>
                    <a:pt x="944" y="496"/>
                    <a:pt x="944" y="495"/>
                  </a:cubicBezTo>
                  <a:cubicBezTo>
                    <a:pt x="945" y="494"/>
                    <a:pt x="945" y="493"/>
                    <a:pt x="946" y="492"/>
                  </a:cubicBezTo>
                  <a:cubicBezTo>
                    <a:pt x="946" y="491"/>
                    <a:pt x="947" y="490"/>
                    <a:pt x="948" y="489"/>
                  </a:cubicBezTo>
                  <a:cubicBezTo>
                    <a:pt x="948" y="488"/>
                    <a:pt x="949" y="487"/>
                    <a:pt x="949" y="486"/>
                  </a:cubicBezTo>
                  <a:cubicBezTo>
                    <a:pt x="950" y="485"/>
                    <a:pt x="950" y="484"/>
                    <a:pt x="951" y="482"/>
                  </a:cubicBezTo>
                  <a:cubicBezTo>
                    <a:pt x="951" y="481"/>
                    <a:pt x="952" y="480"/>
                    <a:pt x="953" y="479"/>
                  </a:cubicBezTo>
                  <a:cubicBezTo>
                    <a:pt x="953" y="478"/>
                    <a:pt x="954" y="477"/>
                    <a:pt x="954" y="476"/>
                  </a:cubicBezTo>
                  <a:cubicBezTo>
                    <a:pt x="955" y="475"/>
                    <a:pt x="955" y="474"/>
                    <a:pt x="956" y="473"/>
                  </a:cubicBezTo>
                  <a:cubicBezTo>
                    <a:pt x="956" y="472"/>
                    <a:pt x="957" y="471"/>
                    <a:pt x="958" y="470"/>
                  </a:cubicBezTo>
                  <a:cubicBezTo>
                    <a:pt x="958" y="469"/>
                    <a:pt x="959" y="468"/>
                    <a:pt x="959" y="467"/>
                  </a:cubicBezTo>
                  <a:cubicBezTo>
                    <a:pt x="960" y="466"/>
                    <a:pt x="960" y="465"/>
                    <a:pt x="961" y="464"/>
                  </a:cubicBezTo>
                  <a:cubicBezTo>
                    <a:pt x="961" y="463"/>
                    <a:pt x="962" y="462"/>
                    <a:pt x="963" y="461"/>
                  </a:cubicBezTo>
                  <a:cubicBezTo>
                    <a:pt x="963" y="460"/>
                    <a:pt x="964" y="459"/>
                    <a:pt x="964" y="458"/>
                  </a:cubicBezTo>
                  <a:cubicBezTo>
                    <a:pt x="965" y="457"/>
                    <a:pt x="965" y="455"/>
                    <a:pt x="966" y="454"/>
                  </a:cubicBezTo>
                  <a:cubicBezTo>
                    <a:pt x="966" y="453"/>
                    <a:pt x="967" y="452"/>
                    <a:pt x="968" y="451"/>
                  </a:cubicBezTo>
                  <a:cubicBezTo>
                    <a:pt x="968" y="450"/>
                    <a:pt x="969" y="449"/>
                    <a:pt x="969" y="448"/>
                  </a:cubicBezTo>
                  <a:cubicBezTo>
                    <a:pt x="970" y="447"/>
                    <a:pt x="970" y="446"/>
                    <a:pt x="971" y="445"/>
                  </a:cubicBezTo>
                  <a:cubicBezTo>
                    <a:pt x="972" y="444"/>
                    <a:pt x="972" y="443"/>
                    <a:pt x="973" y="442"/>
                  </a:cubicBezTo>
                  <a:cubicBezTo>
                    <a:pt x="973" y="441"/>
                    <a:pt x="974" y="440"/>
                    <a:pt x="974" y="439"/>
                  </a:cubicBezTo>
                  <a:cubicBezTo>
                    <a:pt x="975" y="438"/>
                    <a:pt x="975" y="437"/>
                    <a:pt x="976" y="436"/>
                  </a:cubicBezTo>
                  <a:cubicBezTo>
                    <a:pt x="977" y="435"/>
                    <a:pt x="977" y="434"/>
                    <a:pt x="978" y="433"/>
                  </a:cubicBezTo>
                  <a:cubicBezTo>
                    <a:pt x="978" y="432"/>
                    <a:pt x="979" y="430"/>
                    <a:pt x="979" y="429"/>
                  </a:cubicBezTo>
                  <a:cubicBezTo>
                    <a:pt x="980" y="428"/>
                    <a:pt x="981" y="426"/>
                    <a:pt x="982" y="425"/>
                  </a:cubicBezTo>
                  <a:cubicBezTo>
                    <a:pt x="982" y="424"/>
                    <a:pt x="983" y="423"/>
                    <a:pt x="983" y="422"/>
                  </a:cubicBezTo>
                  <a:cubicBezTo>
                    <a:pt x="984" y="421"/>
                    <a:pt x="985" y="420"/>
                    <a:pt x="985" y="419"/>
                  </a:cubicBezTo>
                  <a:cubicBezTo>
                    <a:pt x="986" y="418"/>
                    <a:pt x="986" y="417"/>
                    <a:pt x="987" y="415"/>
                  </a:cubicBezTo>
                  <a:cubicBezTo>
                    <a:pt x="987" y="414"/>
                    <a:pt x="988" y="413"/>
                    <a:pt x="988" y="412"/>
                  </a:cubicBezTo>
                  <a:cubicBezTo>
                    <a:pt x="989" y="411"/>
                    <a:pt x="990" y="410"/>
                    <a:pt x="990" y="409"/>
                  </a:cubicBezTo>
                  <a:cubicBezTo>
                    <a:pt x="991" y="408"/>
                    <a:pt x="991" y="407"/>
                    <a:pt x="992" y="406"/>
                  </a:cubicBezTo>
                  <a:cubicBezTo>
                    <a:pt x="992" y="405"/>
                    <a:pt x="993" y="404"/>
                    <a:pt x="994" y="403"/>
                  </a:cubicBezTo>
                  <a:cubicBezTo>
                    <a:pt x="994" y="402"/>
                    <a:pt x="995" y="401"/>
                    <a:pt x="995" y="400"/>
                  </a:cubicBezTo>
                  <a:cubicBezTo>
                    <a:pt x="996" y="399"/>
                    <a:pt x="996" y="398"/>
                    <a:pt x="997" y="397"/>
                  </a:cubicBezTo>
                  <a:cubicBezTo>
                    <a:pt x="997" y="396"/>
                    <a:pt x="998" y="395"/>
                    <a:pt x="999" y="394"/>
                  </a:cubicBezTo>
                  <a:cubicBezTo>
                    <a:pt x="999" y="393"/>
                    <a:pt x="1000" y="392"/>
                    <a:pt x="1000" y="391"/>
                  </a:cubicBezTo>
                  <a:cubicBezTo>
                    <a:pt x="1001" y="390"/>
                    <a:pt x="1001" y="389"/>
                    <a:pt x="1002" y="387"/>
                  </a:cubicBezTo>
                  <a:cubicBezTo>
                    <a:pt x="1002" y="386"/>
                    <a:pt x="1003" y="385"/>
                    <a:pt x="1004" y="384"/>
                  </a:cubicBezTo>
                  <a:cubicBezTo>
                    <a:pt x="1004" y="383"/>
                    <a:pt x="1005" y="382"/>
                    <a:pt x="1005" y="381"/>
                  </a:cubicBezTo>
                  <a:cubicBezTo>
                    <a:pt x="1006" y="380"/>
                    <a:pt x="1006" y="379"/>
                    <a:pt x="1007" y="378"/>
                  </a:cubicBezTo>
                  <a:cubicBezTo>
                    <a:pt x="1008" y="377"/>
                    <a:pt x="1008" y="376"/>
                    <a:pt x="1009" y="375"/>
                  </a:cubicBezTo>
                  <a:cubicBezTo>
                    <a:pt x="1009" y="374"/>
                    <a:pt x="1010" y="373"/>
                    <a:pt x="1010" y="372"/>
                  </a:cubicBezTo>
                  <a:cubicBezTo>
                    <a:pt x="1011" y="371"/>
                    <a:pt x="1011" y="370"/>
                    <a:pt x="1012" y="369"/>
                  </a:cubicBezTo>
                  <a:cubicBezTo>
                    <a:pt x="1013" y="368"/>
                    <a:pt x="1013" y="367"/>
                    <a:pt x="1014" y="366"/>
                  </a:cubicBezTo>
                  <a:cubicBezTo>
                    <a:pt x="1014" y="365"/>
                    <a:pt x="1015" y="364"/>
                    <a:pt x="1015" y="363"/>
                  </a:cubicBezTo>
                  <a:cubicBezTo>
                    <a:pt x="1016" y="362"/>
                    <a:pt x="1016" y="361"/>
                    <a:pt x="1017" y="360"/>
                  </a:cubicBezTo>
                  <a:cubicBezTo>
                    <a:pt x="1018" y="358"/>
                    <a:pt x="1018" y="357"/>
                    <a:pt x="1019" y="356"/>
                  </a:cubicBezTo>
                  <a:cubicBezTo>
                    <a:pt x="1019" y="355"/>
                    <a:pt x="1020" y="354"/>
                    <a:pt x="1020" y="353"/>
                  </a:cubicBezTo>
                  <a:cubicBezTo>
                    <a:pt x="1021" y="352"/>
                    <a:pt x="1022" y="351"/>
                    <a:pt x="1022" y="350"/>
                  </a:cubicBezTo>
                  <a:cubicBezTo>
                    <a:pt x="1023" y="349"/>
                    <a:pt x="1023" y="348"/>
                    <a:pt x="1024" y="347"/>
                  </a:cubicBezTo>
                  <a:cubicBezTo>
                    <a:pt x="1024" y="346"/>
                    <a:pt x="1025" y="345"/>
                    <a:pt x="1025" y="344"/>
                  </a:cubicBezTo>
                  <a:cubicBezTo>
                    <a:pt x="1026" y="343"/>
                    <a:pt x="1027" y="342"/>
                    <a:pt x="1027" y="341"/>
                  </a:cubicBezTo>
                  <a:cubicBezTo>
                    <a:pt x="1028" y="340"/>
                    <a:pt x="1028" y="339"/>
                    <a:pt x="1029" y="338"/>
                  </a:cubicBezTo>
                  <a:cubicBezTo>
                    <a:pt x="1029" y="337"/>
                    <a:pt x="1030" y="336"/>
                    <a:pt x="1030" y="335"/>
                  </a:cubicBezTo>
                  <a:cubicBezTo>
                    <a:pt x="1031" y="334"/>
                    <a:pt x="1032" y="333"/>
                    <a:pt x="1032" y="332"/>
                  </a:cubicBezTo>
                  <a:cubicBezTo>
                    <a:pt x="1033" y="331"/>
                    <a:pt x="1033" y="329"/>
                    <a:pt x="1034" y="328"/>
                  </a:cubicBezTo>
                  <a:cubicBezTo>
                    <a:pt x="1034" y="327"/>
                    <a:pt x="1035" y="326"/>
                    <a:pt x="1036" y="325"/>
                  </a:cubicBezTo>
                  <a:cubicBezTo>
                    <a:pt x="1036" y="324"/>
                    <a:pt x="1037" y="323"/>
                    <a:pt x="1037" y="322"/>
                  </a:cubicBezTo>
                  <a:cubicBezTo>
                    <a:pt x="1038" y="321"/>
                    <a:pt x="1038" y="320"/>
                    <a:pt x="1039" y="319"/>
                  </a:cubicBezTo>
                  <a:cubicBezTo>
                    <a:pt x="1040" y="318"/>
                    <a:pt x="1040" y="317"/>
                    <a:pt x="1041" y="316"/>
                  </a:cubicBezTo>
                  <a:cubicBezTo>
                    <a:pt x="1041" y="315"/>
                    <a:pt x="1042" y="313"/>
                    <a:pt x="1043" y="312"/>
                  </a:cubicBezTo>
                  <a:cubicBezTo>
                    <a:pt x="1044" y="311"/>
                    <a:pt x="1044" y="309"/>
                    <a:pt x="1045" y="308"/>
                  </a:cubicBezTo>
                  <a:cubicBezTo>
                    <a:pt x="1045" y="307"/>
                    <a:pt x="1046" y="306"/>
                    <a:pt x="1046" y="305"/>
                  </a:cubicBezTo>
                  <a:cubicBezTo>
                    <a:pt x="1047" y="304"/>
                    <a:pt x="1048" y="303"/>
                    <a:pt x="1048" y="302"/>
                  </a:cubicBezTo>
                  <a:cubicBezTo>
                    <a:pt x="1049" y="301"/>
                    <a:pt x="1049" y="300"/>
                    <a:pt x="1050" y="299"/>
                  </a:cubicBezTo>
                  <a:cubicBezTo>
                    <a:pt x="1050" y="298"/>
                    <a:pt x="1051" y="297"/>
                    <a:pt x="1051" y="296"/>
                  </a:cubicBezTo>
                  <a:cubicBezTo>
                    <a:pt x="1052" y="295"/>
                    <a:pt x="1053" y="294"/>
                    <a:pt x="1053" y="293"/>
                  </a:cubicBezTo>
                  <a:cubicBezTo>
                    <a:pt x="1054" y="292"/>
                    <a:pt x="1054" y="291"/>
                    <a:pt x="1055" y="290"/>
                  </a:cubicBezTo>
                  <a:cubicBezTo>
                    <a:pt x="1055" y="289"/>
                    <a:pt x="1056" y="288"/>
                    <a:pt x="1057" y="287"/>
                  </a:cubicBezTo>
                  <a:cubicBezTo>
                    <a:pt x="1057" y="286"/>
                    <a:pt x="1058" y="285"/>
                    <a:pt x="1058" y="284"/>
                  </a:cubicBezTo>
                  <a:cubicBezTo>
                    <a:pt x="1059" y="283"/>
                    <a:pt x="1059" y="282"/>
                    <a:pt x="1060" y="280"/>
                  </a:cubicBezTo>
                  <a:cubicBezTo>
                    <a:pt x="1060" y="279"/>
                    <a:pt x="1061" y="278"/>
                    <a:pt x="1062" y="277"/>
                  </a:cubicBezTo>
                  <a:cubicBezTo>
                    <a:pt x="1062" y="276"/>
                    <a:pt x="1063" y="275"/>
                    <a:pt x="1063" y="274"/>
                  </a:cubicBezTo>
                  <a:cubicBezTo>
                    <a:pt x="1064" y="273"/>
                    <a:pt x="1064" y="272"/>
                    <a:pt x="1065" y="271"/>
                  </a:cubicBezTo>
                  <a:cubicBezTo>
                    <a:pt x="1066" y="270"/>
                    <a:pt x="1066" y="269"/>
                    <a:pt x="1067" y="268"/>
                  </a:cubicBezTo>
                  <a:cubicBezTo>
                    <a:pt x="1067" y="267"/>
                    <a:pt x="1068" y="266"/>
                    <a:pt x="1068" y="265"/>
                  </a:cubicBezTo>
                  <a:cubicBezTo>
                    <a:pt x="1069" y="264"/>
                    <a:pt x="1070" y="263"/>
                    <a:pt x="1070" y="262"/>
                  </a:cubicBezTo>
                  <a:cubicBezTo>
                    <a:pt x="1071" y="261"/>
                    <a:pt x="1071" y="260"/>
                    <a:pt x="1072" y="259"/>
                  </a:cubicBezTo>
                  <a:cubicBezTo>
                    <a:pt x="1072" y="258"/>
                    <a:pt x="1073" y="257"/>
                    <a:pt x="1073" y="256"/>
                  </a:cubicBezTo>
                  <a:cubicBezTo>
                    <a:pt x="1074" y="255"/>
                    <a:pt x="1075" y="254"/>
                    <a:pt x="1075" y="253"/>
                  </a:cubicBezTo>
                  <a:cubicBezTo>
                    <a:pt x="1076" y="252"/>
                    <a:pt x="1076" y="251"/>
                    <a:pt x="1077" y="249"/>
                  </a:cubicBezTo>
                  <a:cubicBezTo>
                    <a:pt x="1077" y="248"/>
                    <a:pt x="1078" y="247"/>
                    <a:pt x="1079" y="246"/>
                  </a:cubicBezTo>
                  <a:cubicBezTo>
                    <a:pt x="1079" y="245"/>
                    <a:pt x="1080" y="244"/>
                    <a:pt x="1080" y="243"/>
                  </a:cubicBezTo>
                  <a:cubicBezTo>
                    <a:pt x="1081" y="242"/>
                    <a:pt x="1081" y="241"/>
                    <a:pt x="1082" y="240"/>
                  </a:cubicBezTo>
                  <a:cubicBezTo>
                    <a:pt x="1083" y="239"/>
                    <a:pt x="1083" y="238"/>
                    <a:pt x="1084" y="237"/>
                  </a:cubicBezTo>
                  <a:cubicBezTo>
                    <a:pt x="1084" y="236"/>
                    <a:pt x="1085" y="235"/>
                    <a:pt x="1085" y="234"/>
                  </a:cubicBezTo>
                  <a:cubicBezTo>
                    <a:pt x="1086" y="233"/>
                    <a:pt x="1087" y="232"/>
                    <a:pt x="1087" y="231"/>
                  </a:cubicBezTo>
                  <a:cubicBezTo>
                    <a:pt x="1088" y="230"/>
                    <a:pt x="1088" y="229"/>
                    <a:pt x="1089" y="228"/>
                  </a:cubicBezTo>
                  <a:cubicBezTo>
                    <a:pt x="1089" y="227"/>
                    <a:pt x="1090" y="226"/>
                    <a:pt x="1090" y="225"/>
                  </a:cubicBezTo>
                  <a:cubicBezTo>
                    <a:pt x="1091" y="224"/>
                    <a:pt x="1092" y="223"/>
                    <a:pt x="1092" y="222"/>
                  </a:cubicBezTo>
                  <a:cubicBezTo>
                    <a:pt x="1093" y="221"/>
                    <a:pt x="1093" y="219"/>
                    <a:pt x="1094" y="218"/>
                  </a:cubicBezTo>
                  <a:cubicBezTo>
                    <a:pt x="1094" y="217"/>
                    <a:pt x="1095" y="216"/>
                    <a:pt x="1096" y="215"/>
                  </a:cubicBezTo>
                  <a:cubicBezTo>
                    <a:pt x="1096" y="214"/>
                    <a:pt x="1097" y="213"/>
                    <a:pt x="1098" y="211"/>
                  </a:cubicBezTo>
                  <a:cubicBezTo>
                    <a:pt x="1098" y="211"/>
                    <a:pt x="1098" y="211"/>
                    <a:pt x="1098" y="211"/>
                  </a:cubicBezTo>
                  <a:cubicBezTo>
                    <a:pt x="1098" y="210"/>
                    <a:pt x="1099" y="209"/>
                    <a:pt x="1100" y="208"/>
                  </a:cubicBezTo>
                  <a:cubicBezTo>
                    <a:pt x="1100" y="208"/>
                    <a:pt x="1100" y="208"/>
                    <a:pt x="1100" y="208"/>
                  </a:cubicBezTo>
                  <a:cubicBezTo>
                    <a:pt x="1100" y="207"/>
                    <a:pt x="1101" y="206"/>
                    <a:pt x="1101" y="205"/>
                  </a:cubicBezTo>
                  <a:cubicBezTo>
                    <a:pt x="1101" y="205"/>
                    <a:pt x="1101" y="205"/>
                    <a:pt x="1101" y="205"/>
                  </a:cubicBezTo>
                  <a:cubicBezTo>
                    <a:pt x="1102" y="204"/>
                    <a:pt x="1102" y="203"/>
                    <a:pt x="1103" y="202"/>
                  </a:cubicBezTo>
                  <a:cubicBezTo>
                    <a:pt x="1103" y="202"/>
                    <a:pt x="1103" y="202"/>
                    <a:pt x="1103" y="202"/>
                  </a:cubicBezTo>
                  <a:cubicBezTo>
                    <a:pt x="1104" y="201"/>
                    <a:pt x="1104" y="200"/>
                    <a:pt x="1105" y="199"/>
                  </a:cubicBezTo>
                  <a:cubicBezTo>
                    <a:pt x="1105" y="199"/>
                    <a:pt x="1105" y="199"/>
                    <a:pt x="1105" y="199"/>
                  </a:cubicBezTo>
                  <a:cubicBezTo>
                    <a:pt x="1105" y="198"/>
                    <a:pt x="1106" y="197"/>
                    <a:pt x="1106" y="196"/>
                  </a:cubicBezTo>
                  <a:cubicBezTo>
                    <a:pt x="1106" y="196"/>
                    <a:pt x="1106" y="196"/>
                    <a:pt x="1106" y="196"/>
                  </a:cubicBezTo>
                  <a:cubicBezTo>
                    <a:pt x="1107" y="195"/>
                    <a:pt x="1107" y="194"/>
                    <a:pt x="1108" y="193"/>
                  </a:cubicBezTo>
                  <a:cubicBezTo>
                    <a:pt x="1108" y="193"/>
                    <a:pt x="1108" y="193"/>
                    <a:pt x="1108" y="192"/>
                  </a:cubicBezTo>
                  <a:cubicBezTo>
                    <a:pt x="1109" y="192"/>
                    <a:pt x="1109" y="191"/>
                    <a:pt x="1109" y="190"/>
                  </a:cubicBezTo>
                  <a:cubicBezTo>
                    <a:pt x="1110" y="190"/>
                    <a:pt x="1110" y="190"/>
                    <a:pt x="1110" y="189"/>
                  </a:cubicBezTo>
                  <a:cubicBezTo>
                    <a:pt x="1110" y="189"/>
                    <a:pt x="1111" y="188"/>
                    <a:pt x="1111" y="187"/>
                  </a:cubicBezTo>
                  <a:cubicBezTo>
                    <a:pt x="1111" y="187"/>
                    <a:pt x="1111" y="187"/>
                    <a:pt x="1112" y="186"/>
                  </a:cubicBezTo>
                  <a:cubicBezTo>
                    <a:pt x="1112" y="186"/>
                    <a:pt x="1112" y="185"/>
                    <a:pt x="1113" y="184"/>
                  </a:cubicBezTo>
                  <a:cubicBezTo>
                    <a:pt x="1113" y="184"/>
                    <a:pt x="1113" y="183"/>
                    <a:pt x="1113" y="183"/>
                  </a:cubicBezTo>
                  <a:cubicBezTo>
                    <a:pt x="1114" y="182"/>
                    <a:pt x="1114" y="182"/>
                    <a:pt x="1114" y="181"/>
                  </a:cubicBezTo>
                  <a:cubicBezTo>
                    <a:pt x="1115" y="181"/>
                    <a:pt x="1115" y="180"/>
                    <a:pt x="1115" y="180"/>
                  </a:cubicBezTo>
                  <a:cubicBezTo>
                    <a:pt x="1115" y="179"/>
                    <a:pt x="1116" y="179"/>
                    <a:pt x="1116" y="178"/>
                  </a:cubicBezTo>
                  <a:cubicBezTo>
                    <a:pt x="1116" y="178"/>
                    <a:pt x="1116" y="177"/>
                    <a:pt x="1117" y="177"/>
                  </a:cubicBezTo>
                  <a:cubicBezTo>
                    <a:pt x="1117" y="176"/>
                    <a:pt x="1117" y="176"/>
                    <a:pt x="1118" y="175"/>
                  </a:cubicBezTo>
                  <a:cubicBezTo>
                    <a:pt x="1118" y="175"/>
                    <a:pt x="1118" y="174"/>
                    <a:pt x="1118" y="174"/>
                  </a:cubicBezTo>
                  <a:cubicBezTo>
                    <a:pt x="1119" y="173"/>
                    <a:pt x="1119" y="173"/>
                    <a:pt x="1119" y="172"/>
                  </a:cubicBezTo>
                  <a:cubicBezTo>
                    <a:pt x="1120" y="172"/>
                    <a:pt x="1120" y="171"/>
                    <a:pt x="1120" y="171"/>
                  </a:cubicBezTo>
                  <a:cubicBezTo>
                    <a:pt x="1120" y="170"/>
                    <a:pt x="1121" y="170"/>
                    <a:pt x="1121" y="169"/>
                  </a:cubicBezTo>
                  <a:cubicBezTo>
                    <a:pt x="1121" y="169"/>
                    <a:pt x="1122" y="168"/>
                    <a:pt x="1122" y="168"/>
                  </a:cubicBezTo>
                  <a:cubicBezTo>
                    <a:pt x="1122" y="167"/>
                    <a:pt x="1122" y="167"/>
                    <a:pt x="1123" y="166"/>
                  </a:cubicBezTo>
                  <a:cubicBezTo>
                    <a:pt x="1123" y="166"/>
                    <a:pt x="1123" y="165"/>
                    <a:pt x="1124" y="165"/>
                  </a:cubicBezTo>
                  <a:cubicBezTo>
                    <a:pt x="1124" y="164"/>
                    <a:pt x="1124" y="164"/>
                    <a:pt x="1124" y="163"/>
                  </a:cubicBezTo>
                  <a:cubicBezTo>
                    <a:pt x="1125" y="163"/>
                    <a:pt x="1125" y="162"/>
                    <a:pt x="1125" y="161"/>
                  </a:cubicBezTo>
                  <a:cubicBezTo>
                    <a:pt x="1125" y="161"/>
                    <a:pt x="1126" y="161"/>
                    <a:pt x="1126" y="160"/>
                  </a:cubicBezTo>
                  <a:cubicBezTo>
                    <a:pt x="1126" y="160"/>
                    <a:pt x="1127" y="159"/>
                    <a:pt x="1127" y="158"/>
                  </a:cubicBezTo>
                  <a:cubicBezTo>
                    <a:pt x="1127" y="158"/>
                    <a:pt x="1127" y="158"/>
                    <a:pt x="1128" y="157"/>
                  </a:cubicBezTo>
                  <a:cubicBezTo>
                    <a:pt x="1128" y="157"/>
                    <a:pt x="1128" y="156"/>
                    <a:pt x="1129" y="155"/>
                  </a:cubicBezTo>
                  <a:cubicBezTo>
                    <a:pt x="1129" y="155"/>
                    <a:pt x="1129" y="155"/>
                    <a:pt x="1129" y="154"/>
                  </a:cubicBezTo>
                  <a:cubicBezTo>
                    <a:pt x="1130" y="154"/>
                    <a:pt x="1130" y="153"/>
                    <a:pt x="1130" y="152"/>
                  </a:cubicBezTo>
                  <a:cubicBezTo>
                    <a:pt x="1131" y="152"/>
                    <a:pt x="1131" y="152"/>
                    <a:pt x="1131" y="151"/>
                  </a:cubicBezTo>
                  <a:cubicBezTo>
                    <a:pt x="1144" y="129"/>
                    <a:pt x="1136" y="102"/>
                    <a:pt x="1114" y="89"/>
                  </a:cubicBezTo>
                  <a:close/>
                </a:path>
              </a:pathLst>
            </a:custGeom>
            <a:solidFill>
              <a:srgbClr val="B61872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3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 Strategic Planning</a:t>
            </a:r>
          </a:p>
        </p:txBody>
      </p:sp>
      <p:sp>
        <p:nvSpPr>
          <p:cNvPr id="44" name="NavigationIcon"/>
          <p:cNvSpPr>
            <a:spLocks noChangeAspect="1"/>
          </p:cNvSpPr>
          <p:nvPr/>
        </p:nvSpPr>
        <p:spPr bwMode="auto">
          <a:xfrm>
            <a:off x="11762998" y="132877"/>
            <a:ext cx="220851" cy="365760"/>
          </a:xfrm>
          <a:custGeom>
            <a:avLst/>
            <a:gdLst>
              <a:gd name="connsiteX0" fmla="*/ 146047 w 754383"/>
              <a:gd name="connsiteY0" fmla="*/ 1054099 h 1249362"/>
              <a:gd name="connsiteX1" fmla="*/ 595723 w 754383"/>
              <a:gd name="connsiteY1" fmla="*/ 1054099 h 1249362"/>
              <a:gd name="connsiteX2" fmla="*/ 600006 w 754383"/>
              <a:gd name="connsiteY2" fmla="*/ 1057675 h 1249362"/>
              <a:gd name="connsiteX3" fmla="*/ 738478 w 754383"/>
              <a:gd name="connsiteY3" fmla="*/ 1225044 h 1249362"/>
              <a:gd name="connsiteX4" fmla="*/ 727057 w 754383"/>
              <a:gd name="connsiteY4" fmla="*/ 1249362 h 1249362"/>
              <a:gd name="connsiteX5" fmla="*/ 14713 w 754383"/>
              <a:gd name="connsiteY5" fmla="*/ 1249362 h 1249362"/>
              <a:gd name="connsiteX6" fmla="*/ 3292 w 754383"/>
              <a:gd name="connsiteY6" fmla="*/ 1225044 h 1249362"/>
              <a:gd name="connsiteX7" fmla="*/ 141764 w 754383"/>
              <a:gd name="connsiteY7" fmla="*/ 1057675 h 1249362"/>
              <a:gd name="connsiteX8" fmla="*/ 146047 w 754383"/>
              <a:gd name="connsiteY8" fmla="*/ 1054099 h 1249362"/>
              <a:gd name="connsiteX9" fmla="*/ 93070 w 754383"/>
              <a:gd name="connsiteY9" fmla="*/ 898524 h 1249362"/>
              <a:gd name="connsiteX10" fmla="*/ 648699 w 754383"/>
              <a:gd name="connsiteY10" fmla="*/ 898524 h 1249362"/>
              <a:gd name="connsiteX11" fmla="*/ 655841 w 754383"/>
              <a:gd name="connsiteY11" fmla="*/ 905682 h 1249362"/>
              <a:gd name="connsiteX12" fmla="*/ 655841 w 754383"/>
              <a:gd name="connsiteY12" fmla="*/ 1015192 h 1249362"/>
              <a:gd name="connsiteX13" fmla="*/ 648699 w 754383"/>
              <a:gd name="connsiteY13" fmla="*/ 1022349 h 1249362"/>
              <a:gd name="connsiteX14" fmla="*/ 93070 w 754383"/>
              <a:gd name="connsiteY14" fmla="*/ 1022349 h 1249362"/>
              <a:gd name="connsiteX15" fmla="*/ 85928 w 754383"/>
              <a:gd name="connsiteY15" fmla="*/ 1015192 h 1249362"/>
              <a:gd name="connsiteX16" fmla="*/ 85928 w 754383"/>
              <a:gd name="connsiteY16" fmla="*/ 905682 h 1249362"/>
              <a:gd name="connsiteX17" fmla="*/ 93070 w 754383"/>
              <a:gd name="connsiteY17" fmla="*/ 898524 h 1249362"/>
              <a:gd name="connsiteX18" fmla="*/ 384014 w 754383"/>
              <a:gd name="connsiteY18" fmla="*/ 0 h 1249362"/>
              <a:gd name="connsiteX19" fmla="*/ 396150 w 754383"/>
              <a:gd name="connsiteY19" fmla="*/ 4277 h 1249362"/>
              <a:gd name="connsiteX20" fmla="*/ 406858 w 754383"/>
              <a:gd name="connsiteY20" fmla="*/ 54174 h 1249362"/>
              <a:gd name="connsiteX21" fmla="*/ 401861 w 754383"/>
              <a:gd name="connsiteY21" fmla="*/ 81260 h 1249362"/>
              <a:gd name="connsiteX22" fmla="*/ 400434 w 754383"/>
              <a:gd name="connsiteY22" fmla="*/ 87676 h 1249362"/>
              <a:gd name="connsiteX23" fmla="*/ 432558 w 754383"/>
              <a:gd name="connsiteY23" fmla="*/ 99793 h 1249362"/>
              <a:gd name="connsiteX24" fmla="*/ 553205 w 754383"/>
              <a:gd name="connsiteY24" fmla="*/ 157531 h 1249362"/>
              <a:gd name="connsiteX25" fmla="*/ 580333 w 754383"/>
              <a:gd name="connsiteY25" fmla="*/ 200299 h 1249362"/>
              <a:gd name="connsiteX26" fmla="*/ 587472 w 754383"/>
              <a:gd name="connsiteY26" fmla="*/ 212417 h 1249362"/>
              <a:gd name="connsiteX27" fmla="*/ 613885 w 754383"/>
              <a:gd name="connsiteY27" fmla="*/ 230950 h 1249362"/>
              <a:gd name="connsiteX28" fmla="*/ 740957 w 754383"/>
              <a:gd name="connsiteY28" fmla="*/ 335733 h 1249362"/>
              <a:gd name="connsiteX29" fmla="*/ 703835 w 754383"/>
              <a:gd name="connsiteY29" fmla="*/ 501817 h 1249362"/>
              <a:gd name="connsiteX30" fmla="*/ 566055 w 754383"/>
              <a:gd name="connsiteY30" fmla="*/ 456910 h 1249362"/>
              <a:gd name="connsiteX31" fmla="*/ 536072 w 754383"/>
              <a:gd name="connsiteY31" fmla="*/ 436239 h 1249362"/>
              <a:gd name="connsiteX32" fmla="*/ 499664 w 754383"/>
              <a:gd name="connsiteY32" fmla="*/ 449069 h 1249362"/>
              <a:gd name="connsiteX33" fmla="*/ 434700 w 754383"/>
              <a:gd name="connsiteY33" fmla="*/ 471879 h 1249362"/>
              <a:gd name="connsiteX34" fmla="*/ 457544 w 754383"/>
              <a:gd name="connsiteY34" fmla="*/ 509658 h 1249362"/>
              <a:gd name="connsiteX35" fmla="*/ 462542 w 754383"/>
              <a:gd name="connsiteY35" fmla="*/ 514648 h 1249362"/>
              <a:gd name="connsiteX36" fmla="*/ 567483 w 754383"/>
              <a:gd name="connsiteY36" fmla="*/ 657209 h 1249362"/>
              <a:gd name="connsiteX37" fmla="*/ 597466 w 754383"/>
              <a:gd name="connsiteY37" fmla="*/ 866775 h 1249362"/>
              <a:gd name="connsiteX38" fmla="*/ 563200 w 754383"/>
              <a:gd name="connsiteY38" fmla="*/ 866775 h 1249362"/>
              <a:gd name="connsiteX39" fmla="*/ 565341 w 754383"/>
              <a:gd name="connsiteY39" fmla="*/ 861073 h 1249362"/>
              <a:gd name="connsiteX40" fmla="*/ 439697 w 754383"/>
              <a:gd name="connsiteY40" fmla="*/ 536032 h 1249362"/>
              <a:gd name="connsiteX41" fmla="*/ 433986 w 754383"/>
              <a:gd name="connsiteY41" fmla="*/ 529617 h 1249362"/>
              <a:gd name="connsiteX42" fmla="*/ 395436 w 754383"/>
              <a:gd name="connsiteY42" fmla="*/ 462613 h 1249362"/>
              <a:gd name="connsiteX43" fmla="*/ 397578 w 754383"/>
              <a:gd name="connsiteY43" fmla="*/ 445505 h 1249362"/>
              <a:gd name="connsiteX44" fmla="*/ 414711 w 754383"/>
              <a:gd name="connsiteY44" fmla="*/ 441229 h 1249362"/>
              <a:gd name="connsiteX45" fmla="*/ 487528 w 754383"/>
              <a:gd name="connsiteY45" fmla="*/ 420557 h 1249362"/>
              <a:gd name="connsiteX46" fmla="*/ 533216 w 754383"/>
              <a:gd name="connsiteY46" fmla="*/ 404875 h 1249362"/>
              <a:gd name="connsiteX47" fmla="*/ 585330 w 754383"/>
              <a:gd name="connsiteY47" fmla="*/ 431962 h 1249362"/>
              <a:gd name="connsiteX48" fmla="*/ 690271 w 754383"/>
              <a:gd name="connsiteY48" fmla="*/ 473305 h 1249362"/>
              <a:gd name="connsiteX49" fmla="*/ 711688 w 754383"/>
              <a:gd name="connsiteY49" fmla="*/ 348563 h 1249362"/>
              <a:gd name="connsiteX50" fmla="*/ 595324 w 754383"/>
              <a:gd name="connsiteY50" fmla="*/ 256611 h 1249362"/>
              <a:gd name="connsiteX51" fmla="*/ 566769 w 754383"/>
              <a:gd name="connsiteY51" fmla="*/ 235227 h 1249362"/>
              <a:gd name="connsiteX52" fmla="*/ 552491 w 754383"/>
              <a:gd name="connsiteY52" fmla="*/ 213843 h 1249362"/>
              <a:gd name="connsiteX53" fmla="*/ 529647 w 754383"/>
              <a:gd name="connsiteY53" fmla="*/ 177489 h 1249362"/>
              <a:gd name="connsiteX54" fmla="*/ 422564 w 754383"/>
              <a:gd name="connsiteY54" fmla="*/ 129731 h 1249362"/>
              <a:gd name="connsiteX55" fmla="*/ 383300 w 754383"/>
              <a:gd name="connsiteY55" fmla="*/ 114762 h 1249362"/>
              <a:gd name="connsiteX56" fmla="*/ 371164 w 754383"/>
              <a:gd name="connsiteY56" fmla="*/ 74132 h 1249362"/>
              <a:gd name="connsiteX57" fmla="*/ 375448 w 754383"/>
              <a:gd name="connsiteY57" fmla="*/ 51322 h 1249362"/>
              <a:gd name="connsiteX58" fmla="*/ 375448 w 754383"/>
              <a:gd name="connsiteY58" fmla="*/ 33502 h 1249362"/>
              <a:gd name="connsiteX59" fmla="*/ 296920 w 754383"/>
              <a:gd name="connsiteY59" fmla="*/ 106921 h 1249362"/>
              <a:gd name="connsiteX60" fmla="*/ 294778 w 754383"/>
              <a:gd name="connsiteY60" fmla="*/ 109773 h 1249362"/>
              <a:gd name="connsiteX61" fmla="*/ 156285 w 754383"/>
              <a:gd name="connsiteY61" fmla="*/ 258750 h 1249362"/>
              <a:gd name="connsiteX62" fmla="*/ 143435 w 754383"/>
              <a:gd name="connsiteY62" fmla="*/ 303657 h 1249362"/>
              <a:gd name="connsiteX63" fmla="*/ 280501 w 754383"/>
              <a:gd name="connsiteY63" fmla="*/ 520350 h 1249362"/>
              <a:gd name="connsiteX64" fmla="*/ 277645 w 754383"/>
              <a:gd name="connsiteY64" fmla="*/ 540309 h 1249362"/>
              <a:gd name="connsiteX65" fmla="*/ 256942 w 754383"/>
              <a:gd name="connsiteY65" fmla="*/ 540309 h 1249362"/>
              <a:gd name="connsiteX66" fmla="*/ 121304 w 754383"/>
              <a:gd name="connsiteY66" fmla="*/ 419844 h 1249362"/>
              <a:gd name="connsiteX67" fmla="*/ 124874 w 754383"/>
              <a:gd name="connsiteY67" fmla="*/ 476869 h 1249362"/>
              <a:gd name="connsiteX68" fmla="*/ 251945 w 754383"/>
              <a:gd name="connsiteY68" fmla="*/ 627272 h 1249362"/>
              <a:gd name="connsiteX69" fmla="*/ 252659 w 754383"/>
              <a:gd name="connsiteY69" fmla="*/ 647943 h 1249362"/>
              <a:gd name="connsiteX70" fmla="*/ 232670 w 754383"/>
              <a:gd name="connsiteY70" fmla="*/ 650794 h 1249362"/>
              <a:gd name="connsiteX71" fmla="*/ 125587 w 754383"/>
              <a:gd name="connsiteY71" fmla="*/ 585929 h 1249362"/>
              <a:gd name="connsiteX72" fmla="*/ 129157 w 754383"/>
              <a:gd name="connsiteY72" fmla="*/ 618718 h 1249362"/>
              <a:gd name="connsiteX73" fmla="*/ 222676 w 754383"/>
              <a:gd name="connsiteY73" fmla="*/ 717085 h 1249362"/>
              <a:gd name="connsiteX74" fmla="*/ 224818 w 754383"/>
              <a:gd name="connsiteY74" fmla="*/ 737044 h 1249362"/>
              <a:gd name="connsiteX75" fmla="*/ 205543 w 754383"/>
              <a:gd name="connsiteY75" fmla="*/ 743459 h 1249362"/>
              <a:gd name="connsiteX76" fmla="*/ 144148 w 754383"/>
              <a:gd name="connsiteY76" fmla="*/ 723501 h 1249362"/>
              <a:gd name="connsiteX77" fmla="*/ 152715 w 754383"/>
              <a:gd name="connsiteY77" fmla="*/ 866775 h 1249362"/>
              <a:gd name="connsiteX78" fmla="*/ 121304 w 754383"/>
              <a:gd name="connsiteY78" fmla="*/ 866775 h 1249362"/>
              <a:gd name="connsiteX79" fmla="*/ 114879 w 754383"/>
              <a:gd name="connsiteY79" fmla="*/ 791930 h 1249362"/>
              <a:gd name="connsiteX80" fmla="*/ 124874 w 754383"/>
              <a:gd name="connsiteY80" fmla="*/ 694276 h 1249362"/>
              <a:gd name="connsiteX81" fmla="*/ 153429 w 754383"/>
              <a:gd name="connsiteY81" fmla="*/ 692850 h 1249362"/>
              <a:gd name="connsiteX82" fmla="*/ 99174 w 754383"/>
              <a:gd name="connsiteY82" fmla="*/ 627272 h 1249362"/>
              <a:gd name="connsiteX83" fmla="*/ 104885 w 754383"/>
              <a:gd name="connsiteY83" fmla="*/ 551714 h 1249362"/>
              <a:gd name="connsiteX84" fmla="*/ 127729 w 754383"/>
              <a:gd name="connsiteY84" fmla="*/ 550288 h 1249362"/>
              <a:gd name="connsiteX85" fmla="*/ 157712 w 754383"/>
              <a:gd name="connsiteY85" fmla="*/ 568108 h 1249362"/>
              <a:gd name="connsiteX86" fmla="*/ 94890 w 754383"/>
              <a:gd name="connsiteY86" fmla="*/ 485423 h 1249362"/>
              <a:gd name="connsiteX87" fmla="*/ 99174 w 754383"/>
              <a:gd name="connsiteY87" fmla="*/ 386342 h 1249362"/>
              <a:gd name="connsiteX88" fmla="*/ 117735 w 754383"/>
              <a:gd name="connsiteY88" fmla="*/ 380640 h 1249362"/>
              <a:gd name="connsiteX89" fmla="*/ 189123 w 754383"/>
              <a:gd name="connsiteY89" fmla="*/ 436239 h 1249362"/>
              <a:gd name="connsiteX90" fmla="*/ 184126 w 754383"/>
              <a:gd name="connsiteY90" fmla="*/ 429111 h 1249362"/>
              <a:gd name="connsiteX91" fmla="*/ 112024 w 754383"/>
              <a:gd name="connsiteY91" fmla="*/ 306508 h 1249362"/>
              <a:gd name="connsiteX92" fmla="*/ 136296 w 754383"/>
              <a:gd name="connsiteY92" fmla="*/ 234514 h 1249362"/>
              <a:gd name="connsiteX93" fmla="*/ 269078 w 754383"/>
              <a:gd name="connsiteY93" fmla="*/ 92665 h 1249362"/>
              <a:gd name="connsiteX94" fmla="*/ 271220 w 754383"/>
              <a:gd name="connsiteY94" fmla="*/ 89101 h 1249362"/>
              <a:gd name="connsiteX95" fmla="*/ 384014 w 754383"/>
              <a:gd name="connsiteY95" fmla="*/ 0 h 1249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754383" h="1249362">
                <a:moveTo>
                  <a:pt x="146047" y="1054099"/>
                </a:moveTo>
                <a:cubicBezTo>
                  <a:pt x="146047" y="1054099"/>
                  <a:pt x="146047" y="1054099"/>
                  <a:pt x="595723" y="1054099"/>
                </a:cubicBezTo>
                <a:cubicBezTo>
                  <a:pt x="597151" y="1055530"/>
                  <a:pt x="598578" y="1056245"/>
                  <a:pt x="600006" y="1057675"/>
                </a:cubicBezTo>
                <a:cubicBezTo>
                  <a:pt x="600006" y="1057675"/>
                  <a:pt x="600006" y="1057675"/>
                  <a:pt x="738478" y="1225044"/>
                </a:cubicBezTo>
                <a:cubicBezTo>
                  <a:pt x="746329" y="1234342"/>
                  <a:pt x="739192" y="1249362"/>
                  <a:pt x="727057" y="1249362"/>
                </a:cubicBezTo>
                <a:cubicBezTo>
                  <a:pt x="727057" y="1249362"/>
                  <a:pt x="727057" y="1249362"/>
                  <a:pt x="14713" y="1249362"/>
                </a:cubicBezTo>
                <a:cubicBezTo>
                  <a:pt x="2578" y="1249362"/>
                  <a:pt x="-4559" y="1234342"/>
                  <a:pt x="3292" y="1225044"/>
                </a:cubicBezTo>
                <a:cubicBezTo>
                  <a:pt x="3292" y="1225044"/>
                  <a:pt x="3292" y="1225044"/>
                  <a:pt x="141764" y="1057675"/>
                </a:cubicBezTo>
                <a:cubicBezTo>
                  <a:pt x="143192" y="1056245"/>
                  <a:pt x="144620" y="1055530"/>
                  <a:pt x="146047" y="1054099"/>
                </a:cubicBezTo>
                <a:close/>
                <a:moveTo>
                  <a:pt x="93070" y="898524"/>
                </a:moveTo>
                <a:cubicBezTo>
                  <a:pt x="93070" y="898524"/>
                  <a:pt x="93070" y="898524"/>
                  <a:pt x="648699" y="898524"/>
                </a:cubicBezTo>
                <a:cubicBezTo>
                  <a:pt x="652270" y="898524"/>
                  <a:pt x="655841" y="902103"/>
                  <a:pt x="655841" y="905682"/>
                </a:cubicBezTo>
                <a:cubicBezTo>
                  <a:pt x="655841" y="905682"/>
                  <a:pt x="655841" y="905682"/>
                  <a:pt x="655841" y="1015192"/>
                </a:cubicBezTo>
                <a:cubicBezTo>
                  <a:pt x="655841" y="1019486"/>
                  <a:pt x="652270" y="1022349"/>
                  <a:pt x="648699" y="1022349"/>
                </a:cubicBezTo>
                <a:cubicBezTo>
                  <a:pt x="648699" y="1022349"/>
                  <a:pt x="648699" y="1022349"/>
                  <a:pt x="93070" y="1022349"/>
                </a:cubicBezTo>
                <a:cubicBezTo>
                  <a:pt x="89499" y="1022349"/>
                  <a:pt x="85928" y="1019486"/>
                  <a:pt x="85928" y="1015192"/>
                </a:cubicBezTo>
                <a:cubicBezTo>
                  <a:pt x="85928" y="1015192"/>
                  <a:pt x="85928" y="1015192"/>
                  <a:pt x="85928" y="905682"/>
                </a:cubicBezTo>
                <a:cubicBezTo>
                  <a:pt x="85928" y="902103"/>
                  <a:pt x="89499" y="898524"/>
                  <a:pt x="93070" y="898524"/>
                </a:cubicBezTo>
                <a:close/>
                <a:moveTo>
                  <a:pt x="384014" y="0"/>
                </a:moveTo>
                <a:cubicBezTo>
                  <a:pt x="388297" y="0"/>
                  <a:pt x="392581" y="1426"/>
                  <a:pt x="396150" y="4277"/>
                </a:cubicBezTo>
                <a:cubicBezTo>
                  <a:pt x="400434" y="7841"/>
                  <a:pt x="409714" y="19959"/>
                  <a:pt x="406858" y="54174"/>
                </a:cubicBezTo>
                <a:cubicBezTo>
                  <a:pt x="405431" y="66291"/>
                  <a:pt x="403289" y="74845"/>
                  <a:pt x="401861" y="81260"/>
                </a:cubicBezTo>
                <a:cubicBezTo>
                  <a:pt x="401147" y="83399"/>
                  <a:pt x="400434" y="86250"/>
                  <a:pt x="400434" y="87676"/>
                </a:cubicBezTo>
                <a:cubicBezTo>
                  <a:pt x="404003" y="89814"/>
                  <a:pt x="418995" y="95516"/>
                  <a:pt x="432558" y="99793"/>
                </a:cubicBezTo>
                <a:cubicBezTo>
                  <a:pt x="488242" y="119039"/>
                  <a:pt x="536072" y="136147"/>
                  <a:pt x="553205" y="157531"/>
                </a:cubicBezTo>
                <a:cubicBezTo>
                  <a:pt x="568197" y="175351"/>
                  <a:pt x="575336" y="189607"/>
                  <a:pt x="580333" y="200299"/>
                </a:cubicBezTo>
                <a:cubicBezTo>
                  <a:pt x="583188" y="205289"/>
                  <a:pt x="585330" y="210279"/>
                  <a:pt x="587472" y="212417"/>
                </a:cubicBezTo>
                <a:cubicBezTo>
                  <a:pt x="589613" y="214555"/>
                  <a:pt x="601749" y="223109"/>
                  <a:pt x="613885" y="230950"/>
                </a:cubicBezTo>
                <a:cubicBezTo>
                  <a:pt x="690271" y="285123"/>
                  <a:pt x="733104" y="317913"/>
                  <a:pt x="740957" y="335733"/>
                </a:cubicBezTo>
                <a:cubicBezTo>
                  <a:pt x="751665" y="362107"/>
                  <a:pt x="778079" y="466890"/>
                  <a:pt x="703835" y="501817"/>
                </a:cubicBezTo>
                <a:cubicBezTo>
                  <a:pt x="654577" y="525340"/>
                  <a:pt x="601035" y="483997"/>
                  <a:pt x="566055" y="456910"/>
                </a:cubicBezTo>
                <a:cubicBezTo>
                  <a:pt x="555347" y="448357"/>
                  <a:pt x="541069" y="437664"/>
                  <a:pt x="536072" y="436239"/>
                </a:cubicBezTo>
                <a:cubicBezTo>
                  <a:pt x="528933" y="437664"/>
                  <a:pt x="513228" y="443367"/>
                  <a:pt x="499664" y="449069"/>
                </a:cubicBezTo>
                <a:cubicBezTo>
                  <a:pt x="473964" y="459762"/>
                  <a:pt x="452547" y="468315"/>
                  <a:pt x="434700" y="471879"/>
                </a:cubicBezTo>
                <a:cubicBezTo>
                  <a:pt x="441839" y="485423"/>
                  <a:pt x="451119" y="501104"/>
                  <a:pt x="457544" y="509658"/>
                </a:cubicBezTo>
                <a:cubicBezTo>
                  <a:pt x="458972" y="510371"/>
                  <a:pt x="460400" y="512509"/>
                  <a:pt x="462542" y="514648"/>
                </a:cubicBezTo>
                <a:cubicBezTo>
                  <a:pt x="479675" y="533181"/>
                  <a:pt x="530361" y="589493"/>
                  <a:pt x="567483" y="657209"/>
                </a:cubicBezTo>
                <a:cubicBezTo>
                  <a:pt x="613885" y="739895"/>
                  <a:pt x="623880" y="810463"/>
                  <a:pt x="597466" y="866775"/>
                </a:cubicBezTo>
                <a:cubicBezTo>
                  <a:pt x="597466" y="866775"/>
                  <a:pt x="597466" y="866775"/>
                  <a:pt x="563200" y="866775"/>
                </a:cubicBezTo>
                <a:cubicBezTo>
                  <a:pt x="563200" y="864637"/>
                  <a:pt x="563913" y="863211"/>
                  <a:pt x="565341" y="861073"/>
                </a:cubicBezTo>
                <a:cubicBezTo>
                  <a:pt x="606747" y="786941"/>
                  <a:pt x="561772" y="671466"/>
                  <a:pt x="439697" y="536032"/>
                </a:cubicBezTo>
                <a:cubicBezTo>
                  <a:pt x="436842" y="533181"/>
                  <a:pt x="434700" y="531042"/>
                  <a:pt x="433986" y="529617"/>
                </a:cubicBezTo>
                <a:cubicBezTo>
                  <a:pt x="417567" y="510371"/>
                  <a:pt x="397578" y="467602"/>
                  <a:pt x="395436" y="462613"/>
                </a:cubicBezTo>
                <a:cubicBezTo>
                  <a:pt x="392581" y="456910"/>
                  <a:pt x="393295" y="449782"/>
                  <a:pt x="397578" y="445505"/>
                </a:cubicBezTo>
                <a:cubicBezTo>
                  <a:pt x="401861" y="440516"/>
                  <a:pt x="409000" y="439090"/>
                  <a:pt x="414711" y="441229"/>
                </a:cubicBezTo>
                <a:cubicBezTo>
                  <a:pt x="426133" y="445505"/>
                  <a:pt x="466111" y="429111"/>
                  <a:pt x="487528" y="420557"/>
                </a:cubicBezTo>
                <a:cubicBezTo>
                  <a:pt x="506803" y="412716"/>
                  <a:pt x="522508" y="406301"/>
                  <a:pt x="533216" y="404875"/>
                </a:cubicBezTo>
                <a:cubicBezTo>
                  <a:pt x="547494" y="403450"/>
                  <a:pt x="562486" y="414855"/>
                  <a:pt x="585330" y="431962"/>
                </a:cubicBezTo>
                <a:cubicBezTo>
                  <a:pt x="616027" y="455485"/>
                  <a:pt x="658860" y="488274"/>
                  <a:pt x="690271" y="473305"/>
                </a:cubicBezTo>
                <a:cubicBezTo>
                  <a:pt x="741671" y="449782"/>
                  <a:pt x="718827" y="364245"/>
                  <a:pt x="711688" y="348563"/>
                </a:cubicBezTo>
                <a:cubicBezTo>
                  <a:pt x="704549" y="333594"/>
                  <a:pt x="625308" y="277995"/>
                  <a:pt x="595324" y="256611"/>
                </a:cubicBezTo>
                <a:cubicBezTo>
                  <a:pt x="577477" y="244493"/>
                  <a:pt x="569625" y="238791"/>
                  <a:pt x="566769" y="235227"/>
                </a:cubicBezTo>
                <a:cubicBezTo>
                  <a:pt x="559630" y="229524"/>
                  <a:pt x="556061" y="222396"/>
                  <a:pt x="552491" y="213843"/>
                </a:cubicBezTo>
                <a:cubicBezTo>
                  <a:pt x="547494" y="203863"/>
                  <a:pt x="541783" y="192458"/>
                  <a:pt x="529647" y="177489"/>
                </a:cubicBezTo>
                <a:cubicBezTo>
                  <a:pt x="516083" y="161808"/>
                  <a:pt x="455403" y="140423"/>
                  <a:pt x="422564" y="129731"/>
                </a:cubicBezTo>
                <a:cubicBezTo>
                  <a:pt x="400434" y="121890"/>
                  <a:pt x="389011" y="118326"/>
                  <a:pt x="383300" y="114762"/>
                </a:cubicBezTo>
                <a:cubicBezTo>
                  <a:pt x="364025" y="102645"/>
                  <a:pt x="368309" y="86250"/>
                  <a:pt x="371164" y="74132"/>
                </a:cubicBezTo>
                <a:cubicBezTo>
                  <a:pt x="372592" y="67717"/>
                  <a:pt x="374734" y="60589"/>
                  <a:pt x="375448" y="51322"/>
                </a:cubicBezTo>
                <a:cubicBezTo>
                  <a:pt x="376161" y="43481"/>
                  <a:pt x="376161" y="37779"/>
                  <a:pt x="375448" y="33502"/>
                </a:cubicBezTo>
                <a:cubicBezTo>
                  <a:pt x="339039" y="44907"/>
                  <a:pt x="308342" y="90527"/>
                  <a:pt x="296920" y="106921"/>
                </a:cubicBezTo>
                <a:cubicBezTo>
                  <a:pt x="296920" y="106921"/>
                  <a:pt x="296920" y="106921"/>
                  <a:pt x="294778" y="109773"/>
                </a:cubicBezTo>
                <a:cubicBezTo>
                  <a:pt x="281928" y="129018"/>
                  <a:pt x="171990" y="245919"/>
                  <a:pt x="156285" y="258750"/>
                </a:cubicBezTo>
                <a:cubicBezTo>
                  <a:pt x="149146" y="264452"/>
                  <a:pt x="144148" y="288688"/>
                  <a:pt x="143435" y="303657"/>
                </a:cubicBezTo>
                <a:cubicBezTo>
                  <a:pt x="154143" y="324328"/>
                  <a:pt x="231956" y="445505"/>
                  <a:pt x="280501" y="520350"/>
                </a:cubicBezTo>
                <a:cubicBezTo>
                  <a:pt x="284784" y="526766"/>
                  <a:pt x="283356" y="535319"/>
                  <a:pt x="277645" y="540309"/>
                </a:cubicBezTo>
                <a:cubicBezTo>
                  <a:pt x="271220" y="546011"/>
                  <a:pt x="262654" y="545299"/>
                  <a:pt x="256942" y="540309"/>
                </a:cubicBezTo>
                <a:cubicBezTo>
                  <a:pt x="204829" y="491838"/>
                  <a:pt x="147004" y="440516"/>
                  <a:pt x="121304" y="419844"/>
                </a:cubicBezTo>
                <a:cubicBezTo>
                  <a:pt x="119876" y="436952"/>
                  <a:pt x="121304" y="464751"/>
                  <a:pt x="124874" y="476869"/>
                </a:cubicBezTo>
                <a:cubicBezTo>
                  <a:pt x="130585" y="490412"/>
                  <a:pt x="194120" y="563832"/>
                  <a:pt x="251945" y="627272"/>
                </a:cubicBezTo>
                <a:cubicBezTo>
                  <a:pt x="257656" y="632974"/>
                  <a:pt x="257656" y="641528"/>
                  <a:pt x="252659" y="647943"/>
                </a:cubicBezTo>
                <a:cubicBezTo>
                  <a:pt x="247662" y="653645"/>
                  <a:pt x="239095" y="655071"/>
                  <a:pt x="232670" y="650794"/>
                </a:cubicBezTo>
                <a:cubicBezTo>
                  <a:pt x="231243" y="650794"/>
                  <a:pt x="157712" y="605174"/>
                  <a:pt x="125587" y="585929"/>
                </a:cubicBezTo>
                <a:cubicBezTo>
                  <a:pt x="125587" y="595908"/>
                  <a:pt x="127015" y="610164"/>
                  <a:pt x="129157" y="618718"/>
                </a:cubicBezTo>
                <a:cubicBezTo>
                  <a:pt x="134868" y="629410"/>
                  <a:pt x="181984" y="677881"/>
                  <a:pt x="222676" y="717085"/>
                </a:cubicBezTo>
                <a:cubicBezTo>
                  <a:pt x="228387" y="722788"/>
                  <a:pt x="229101" y="730629"/>
                  <a:pt x="224818" y="737044"/>
                </a:cubicBezTo>
                <a:cubicBezTo>
                  <a:pt x="220534" y="743459"/>
                  <a:pt x="212682" y="746311"/>
                  <a:pt x="205543" y="743459"/>
                </a:cubicBezTo>
                <a:cubicBezTo>
                  <a:pt x="181984" y="733480"/>
                  <a:pt x="156998" y="725639"/>
                  <a:pt x="144148" y="723501"/>
                </a:cubicBezTo>
                <a:cubicBezTo>
                  <a:pt x="142721" y="746311"/>
                  <a:pt x="147004" y="811889"/>
                  <a:pt x="152715" y="866775"/>
                </a:cubicBezTo>
                <a:cubicBezTo>
                  <a:pt x="152715" y="866775"/>
                  <a:pt x="152715" y="866775"/>
                  <a:pt x="121304" y="866775"/>
                </a:cubicBezTo>
                <a:cubicBezTo>
                  <a:pt x="119876" y="856796"/>
                  <a:pt x="117021" y="824007"/>
                  <a:pt x="114879" y="791930"/>
                </a:cubicBezTo>
                <a:cubicBezTo>
                  <a:pt x="109168" y="707106"/>
                  <a:pt x="114879" y="699265"/>
                  <a:pt x="124874" y="694276"/>
                </a:cubicBezTo>
                <a:cubicBezTo>
                  <a:pt x="127729" y="692137"/>
                  <a:pt x="134154" y="689286"/>
                  <a:pt x="153429" y="692850"/>
                </a:cubicBezTo>
                <a:cubicBezTo>
                  <a:pt x="125587" y="664338"/>
                  <a:pt x="102029" y="638676"/>
                  <a:pt x="99174" y="627272"/>
                </a:cubicBezTo>
                <a:cubicBezTo>
                  <a:pt x="99174" y="626559"/>
                  <a:pt x="84182" y="567396"/>
                  <a:pt x="104885" y="551714"/>
                </a:cubicBezTo>
                <a:cubicBezTo>
                  <a:pt x="111310" y="546724"/>
                  <a:pt x="119876" y="546011"/>
                  <a:pt x="127729" y="550288"/>
                </a:cubicBezTo>
                <a:cubicBezTo>
                  <a:pt x="132012" y="553139"/>
                  <a:pt x="143435" y="559555"/>
                  <a:pt x="157712" y="568108"/>
                </a:cubicBezTo>
                <a:cubicBezTo>
                  <a:pt x="125587" y="531755"/>
                  <a:pt x="97746" y="497540"/>
                  <a:pt x="94890" y="485423"/>
                </a:cubicBezTo>
                <a:cubicBezTo>
                  <a:pt x="91321" y="473305"/>
                  <a:pt x="82754" y="404162"/>
                  <a:pt x="99174" y="386342"/>
                </a:cubicBezTo>
                <a:cubicBezTo>
                  <a:pt x="104171" y="381353"/>
                  <a:pt x="111310" y="379214"/>
                  <a:pt x="117735" y="380640"/>
                </a:cubicBezTo>
                <a:cubicBezTo>
                  <a:pt x="122732" y="381353"/>
                  <a:pt x="128443" y="382778"/>
                  <a:pt x="189123" y="436239"/>
                </a:cubicBezTo>
                <a:cubicBezTo>
                  <a:pt x="187695" y="434100"/>
                  <a:pt x="186268" y="431249"/>
                  <a:pt x="184126" y="429111"/>
                </a:cubicBezTo>
                <a:cubicBezTo>
                  <a:pt x="112024" y="316487"/>
                  <a:pt x="112024" y="312923"/>
                  <a:pt x="112024" y="306508"/>
                </a:cubicBezTo>
                <a:cubicBezTo>
                  <a:pt x="112024" y="306508"/>
                  <a:pt x="112737" y="253760"/>
                  <a:pt x="136296" y="234514"/>
                </a:cubicBezTo>
                <a:cubicBezTo>
                  <a:pt x="152001" y="221684"/>
                  <a:pt x="258370" y="106921"/>
                  <a:pt x="269078" y="92665"/>
                </a:cubicBezTo>
                <a:cubicBezTo>
                  <a:pt x="269078" y="92665"/>
                  <a:pt x="269078" y="92665"/>
                  <a:pt x="271220" y="89101"/>
                </a:cubicBezTo>
                <a:cubicBezTo>
                  <a:pt x="286926" y="66291"/>
                  <a:pt x="327617" y="4990"/>
                  <a:pt x="384014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65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79"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61872"/>
          </a:solidFill>
          <a:ln w="9525" cap="rnd" cmpd="sng" algn="ctr">
            <a:solidFill>
              <a:srgbClr val="B6187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886397"/>
          </a:xfrm>
        </p:spPr>
        <p:txBody>
          <a:bodyPr/>
          <a:lstStyle/>
          <a:p>
            <a:r>
              <a:rPr lang="en-US" sz="3200" dirty="0"/>
              <a:t>New process includes historic spend analysis &amp; market analysis to define optimal sourcing strategies by catego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9300" y="1956934"/>
            <a:ext cx="919293" cy="1684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Responsible</a:t>
            </a:r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1727433" y="1602759"/>
            <a:ext cx="10046644" cy="0"/>
          </a:xfrm>
          <a:prstGeom prst="straightConnector1">
            <a:avLst/>
          </a:prstGeom>
          <a:ln w="9525">
            <a:solidFill>
              <a:srgbClr val="7F7F7F"/>
            </a:solidFill>
            <a:prstDash val="sysDot"/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e4pHeader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03873" y="1593327"/>
            <a:ext cx="2379732" cy="478826"/>
          </a:xfrm>
          <a:prstGeom prst="homePlate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nalyze demand</a:t>
            </a:r>
            <a:b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of categories    </a:t>
            </a:r>
          </a:p>
        </p:txBody>
      </p:sp>
      <p:sp>
        <p:nvSpPr>
          <p:cNvPr id="44" name="ee4pHeader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799612" y="1593327"/>
            <a:ext cx="2454855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efine goods and</a:t>
            </a:r>
            <a:b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ervices by category</a:t>
            </a:r>
          </a:p>
        </p:txBody>
      </p:sp>
      <p:sp>
        <p:nvSpPr>
          <p:cNvPr id="45" name="ee4pHeader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270474" y="1593327"/>
            <a:ext cx="2200064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category strategies</a:t>
            </a:r>
          </a:p>
        </p:txBody>
      </p:sp>
      <p:sp>
        <p:nvSpPr>
          <p:cNvPr id="46" name="ee4pHeader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486545" y="1593327"/>
            <a:ext cx="2075612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Refine and validate</a:t>
            </a:r>
            <a:b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ategory strategies</a:t>
            </a:r>
          </a:p>
        </p:txBody>
      </p:sp>
      <p:sp>
        <p:nvSpPr>
          <p:cNvPr id="47" name="ee4pHeader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0578164" y="1593327"/>
            <a:ext cx="1345246" cy="478826"/>
          </a:xfrm>
          <a:prstGeom prst="chevron">
            <a:avLst>
              <a:gd name="adj" fmla="val 12004"/>
            </a:avLst>
          </a:prstGeom>
          <a:solidFill>
            <a:srgbClr val="B6187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efine metrics</a:t>
            </a:r>
            <a:b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nd targets</a:t>
            </a:r>
          </a:p>
        </p:txBody>
      </p:sp>
      <p:sp>
        <p:nvSpPr>
          <p:cNvPr id="56" name="ee4pFootnotes"/>
          <p:cNvSpPr>
            <a:spLocks noChangeArrowheads="1"/>
          </p:cNvSpPr>
          <p:nvPr/>
        </p:nvSpPr>
        <p:spPr bwMode="auto">
          <a:xfrm>
            <a:off x="629998" y="6227847"/>
            <a:ext cx="8418751" cy="415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1. Category strategy team includes the Category Leader, the Technical Authority, Project Service Officer (contract manager). Extended team to include CSR, Finance &amp; Legal team when required 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Source: SCM Frontera; team analysis</a:t>
            </a:r>
          </a:p>
        </p:txBody>
      </p:sp>
      <p:sp>
        <p:nvSpPr>
          <p:cNvPr id="55" name="Diamond 54"/>
          <p:cNvSpPr/>
          <p:nvPr/>
        </p:nvSpPr>
        <p:spPr>
          <a:xfrm>
            <a:off x="10799735" y="6057947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TextColumnContent"/>
          <p:cNvSpPr>
            <a:spLocks noChangeArrowheads="1"/>
          </p:cNvSpPr>
          <p:nvPr/>
        </p:nvSpPr>
        <p:spPr bwMode="gray">
          <a:xfrm>
            <a:off x="10954751" y="6020634"/>
            <a:ext cx="1237249" cy="240925"/>
          </a:xfrm>
          <a:prstGeom prst="rect">
            <a:avLst/>
          </a:prstGeom>
          <a:noFill/>
          <a:ln w="9049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049" cap="flat" cmpd="sng" algn="ctr">
                <a:solidFill>
                  <a:srgbClr val="B6187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ontrol mechanism</a:t>
            </a:r>
          </a:p>
        </p:txBody>
      </p:sp>
      <p:sp>
        <p:nvSpPr>
          <p:cNvPr id="8" name="TextColumnContent"/>
          <p:cNvSpPr>
            <a:spLocks noChangeArrowheads="1"/>
          </p:cNvSpPr>
          <p:nvPr/>
        </p:nvSpPr>
        <p:spPr bwMode="gray">
          <a:xfrm>
            <a:off x="389300" y="3508080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EO/CFO</a:t>
            </a: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389300" y="5047508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endParaRPr lang="en-US" sz="1200" dirty="0">
              <a:solidFill>
                <a:srgbClr val="B61872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1431337" y="3546037"/>
            <a:ext cx="0" cy="531441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extColumnContent"/>
          <p:cNvSpPr>
            <a:spLocks noChangeArrowheads="1"/>
          </p:cNvSpPr>
          <p:nvPr/>
        </p:nvSpPr>
        <p:spPr bwMode="gray">
          <a:xfrm>
            <a:off x="259187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nalyze historical spend of categories</a:t>
            </a:r>
          </a:p>
        </p:txBody>
      </p:sp>
      <p:sp>
        <p:nvSpPr>
          <p:cNvPr id="12" name="TextColumnContent"/>
          <p:cNvSpPr>
            <a:spLocks noChangeArrowheads="1"/>
          </p:cNvSpPr>
          <p:nvPr/>
        </p:nvSpPr>
        <p:spPr bwMode="gray">
          <a:xfrm>
            <a:off x="148683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Receive business priorities and demand drivers </a:t>
            </a:r>
          </a:p>
        </p:txBody>
      </p:sp>
      <p:sp>
        <p:nvSpPr>
          <p:cNvPr id="13" name="TextColumnContent"/>
          <p:cNvSpPr>
            <a:spLocks noChangeArrowheads="1"/>
          </p:cNvSpPr>
          <p:nvPr/>
        </p:nvSpPr>
        <p:spPr bwMode="gray">
          <a:xfrm>
            <a:off x="590699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0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Set list of required goods/services by category</a:t>
            </a:r>
          </a:p>
        </p:txBody>
      </p:sp>
      <p:sp>
        <p:nvSpPr>
          <p:cNvPr id="14" name="TextColumnContent"/>
          <p:cNvSpPr>
            <a:spLocks noChangeArrowheads="1"/>
          </p:cNvSpPr>
          <p:nvPr/>
        </p:nvSpPr>
        <p:spPr bwMode="gray">
          <a:xfrm>
            <a:off x="8117068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efine strategy: scope,</a:t>
            </a: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  <a:sym typeface="Arial" panose="020B0604020202020204" pitchFamily="34" charset="0"/>
              </a:rPr>
              <a:t> </a:t>
            </a: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savings,</a:t>
            </a:r>
            <a:b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and potential</a:t>
            </a:r>
            <a:b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suppliers</a:t>
            </a:r>
          </a:p>
        </p:txBody>
      </p:sp>
      <p:sp>
        <p:nvSpPr>
          <p:cNvPr id="15" name="TextColumnContent"/>
          <p:cNvSpPr>
            <a:spLocks noChangeArrowheads="1"/>
          </p:cNvSpPr>
          <p:nvPr/>
        </p:nvSpPr>
        <p:spPr bwMode="gray">
          <a:xfrm>
            <a:off x="701203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nalyze market</a:t>
            </a:r>
            <a:b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&amp; internal data</a:t>
            </a:r>
          </a:p>
        </p:txBody>
      </p:sp>
      <p:sp>
        <p:nvSpPr>
          <p:cNvPr id="17" name="TextColumnContent"/>
          <p:cNvSpPr>
            <a:spLocks noChangeArrowheads="1"/>
          </p:cNvSpPr>
          <p:nvPr/>
        </p:nvSpPr>
        <p:spPr bwMode="gray">
          <a:xfrm>
            <a:off x="1108125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efine metrics</a:t>
            </a:r>
            <a:b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nd set targets </a:t>
            </a:r>
          </a:p>
        </p:txBody>
      </p:sp>
      <p:cxnSp>
        <p:nvCxnSpPr>
          <p:cNvPr id="18" name="Elbow Connector 17"/>
          <p:cNvCxnSpPr>
            <a:stCxn id="11" idx="3"/>
            <a:endCxn id="22" idx="1"/>
          </p:cNvCxnSpPr>
          <p:nvPr/>
        </p:nvCxnSpPr>
        <p:spPr>
          <a:xfrm>
            <a:off x="3597711" y="3120413"/>
            <a:ext cx="99200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431337" y="4928727"/>
            <a:ext cx="0" cy="531441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369691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heck active contracts and current inventory</a:t>
            </a:r>
          </a:p>
        </p:txBody>
      </p:sp>
      <p:sp>
        <p:nvSpPr>
          <p:cNvPr id="23" name="TextColumnContent"/>
          <p:cNvSpPr>
            <a:spLocks noChangeArrowheads="1"/>
          </p:cNvSpPr>
          <p:nvPr/>
        </p:nvSpPr>
        <p:spPr bwMode="gray">
          <a:xfrm>
            <a:off x="389300" y="4199425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User area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VP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1431337" y="4237382"/>
            <a:ext cx="0" cy="531441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Elbow Connector 58"/>
          <p:cNvCxnSpPr>
            <a:stCxn id="12" idx="3"/>
            <a:endCxn id="11" idx="1"/>
          </p:cNvCxnSpPr>
          <p:nvPr/>
        </p:nvCxnSpPr>
        <p:spPr>
          <a:xfrm>
            <a:off x="2492671" y="3120413"/>
            <a:ext cx="99200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ColumnContent"/>
          <p:cNvSpPr>
            <a:spLocks noChangeArrowheads="1"/>
          </p:cNvSpPr>
          <p:nvPr/>
        </p:nvSpPr>
        <p:spPr bwMode="gray">
          <a:xfrm>
            <a:off x="4801951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Estimate value</a:t>
            </a:r>
            <a:b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</a:b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of goods/services</a:t>
            </a:r>
          </a:p>
        </p:txBody>
      </p:sp>
      <p:sp>
        <p:nvSpPr>
          <p:cNvPr id="28" name="TextColumnContent"/>
          <p:cNvSpPr>
            <a:spLocks noChangeArrowheads="1"/>
          </p:cNvSpPr>
          <p:nvPr/>
        </p:nvSpPr>
        <p:spPr bwMode="gray">
          <a:xfrm>
            <a:off x="9204647" y="285469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charset="0"/>
              </a:rPr>
              <a:t>Consolidate strategies in document to validate with VP</a:t>
            </a:r>
          </a:p>
        </p:txBody>
      </p:sp>
      <p:sp>
        <p:nvSpPr>
          <p:cNvPr id="29" name="TextColumnContent"/>
          <p:cNvSpPr>
            <a:spLocks noChangeArrowheads="1"/>
          </p:cNvSpPr>
          <p:nvPr/>
        </p:nvSpPr>
        <p:spPr bwMode="gray">
          <a:xfrm>
            <a:off x="10340615" y="4237382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pprove planned strategies</a:t>
            </a:r>
          </a:p>
        </p:txBody>
      </p:sp>
      <p:sp>
        <p:nvSpPr>
          <p:cNvPr id="30" name="TextColumnContent"/>
          <p:cNvSpPr>
            <a:spLocks noChangeArrowheads="1"/>
          </p:cNvSpPr>
          <p:nvPr/>
        </p:nvSpPr>
        <p:spPr bwMode="gray">
          <a:xfrm>
            <a:off x="389300" y="2816735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ategory strategy team</a:t>
            </a:r>
            <a:r>
              <a:rPr lang="en-US" sz="1200" baseline="300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1</a:t>
            </a: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1431337" y="2854692"/>
            <a:ext cx="0" cy="531441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6" idx="3"/>
            <a:endCxn id="28" idx="2"/>
          </p:cNvCxnSpPr>
          <p:nvPr/>
        </p:nvCxnSpPr>
        <p:spPr>
          <a:xfrm flipV="1">
            <a:off x="9666698" y="3386133"/>
            <a:ext cx="40869" cy="1808315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Elbow Connector 32"/>
          <p:cNvCxnSpPr>
            <a:stCxn id="28" idx="0"/>
            <a:endCxn id="35" idx="1"/>
          </p:cNvCxnSpPr>
          <p:nvPr/>
        </p:nvCxnSpPr>
        <p:spPr>
          <a:xfrm rot="5400000" flipH="1" flipV="1">
            <a:off x="9531699" y="2604936"/>
            <a:ext cx="425624" cy="73889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389300" y="4890770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User area</a:t>
            </a:r>
            <a:b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manager</a:t>
            </a:r>
          </a:p>
        </p:txBody>
      </p:sp>
      <p:sp>
        <p:nvSpPr>
          <p:cNvPr id="35" name="TextColumnContent"/>
          <p:cNvSpPr>
            <a:spLocks noChangeArrowheads="1"/>
          </p:cNvSpPr>
          <p:nvPr/>
        </p:nvSpPr>
        <p:spPr bwMode="gray">
          <a:xfrm>
            <a:off x="9781456" y="2163347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alidate planned strategies</a:t>
            </a:r>
          </a:p>
        </p:txBody>
      </p:sp>
      <p:cxnSp>
        <p:nvCxnSpPr>
          <p:cNvPr id="36" name="Elbow Connector 35"/>
          <p:cNvCxnSpPr>
            <a:stCxn id="22" idx="3"/>
            <a:endCxn id="26" idx="1"/>
          </p:cNvCxnSpPr>
          <p:nvPr/>
        </p:nvCxnSpPr>
        <p:spPr>
          <a:xfrm>
            <a:off x="4702751" y="3120413"/>
            <a:ext cx="99200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58"/>
          <p:cNvCxnSpPr>
            <a:stCxn id="26" idx="3"/>
            <a:endCxn id="13" idx="1"/>
          </p:cNvCxnSpPr>
          <p:nvPr/>
        </p:nvCxnSpPr>
        <p:spPr>
          <a:xfrm>
            <a:off x="5807791" y="3120413"/>
            <a:ext cx="99200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58"/>
          <p:cNvCxnSpPr>
            <a:stCxn id="13" idx="3"/>
            <a:endCxn id="15" idx="1"/>
          </p:cNvCxnSpPr>
          <p:nvPr/>
        </p:nvCxnSpPr>
        <p:spPr>
          <a:xfrm>
            <a:off x="6912831" y="3120413"/>
            <a:ext cx="99200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58"/>
          <p:cNvCxnSpPr>
            <a:stCxn id="15" idx="3"/>
            <a:endCxn id="14" idx="1"/>
          </p:cNvCxnSpPr>
          <p:nvPr/>
        </p:nvCxnSpPr>
        <p:spPr>
          <a:xfrm>
            <a:off x="8017871" y="3120413"/>
            <a:ext cx="99197" cy="0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4" idx="2"/>
            <a:endCxn id="16" idx="1"/>
          </p:cNvCxnSpPr>
          <p:nvPr/>
        </p:nvCxnSpPr>
        <p:spPr>
          <a:xfrm rot="16200000" flipH="1">
            <a:off x="7736266" y="4269855"/>
            <a:ext cx="1808315" cy="40870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35" idx="3"/>
            <a:endCxn id="29" idx="0"/>
          </p:cNvCxnSpPr>
          <p:nvPr/>
        </p:nvCxnSpPr>
        <p:spPr>
          <a:xfrm>
            <a:off x="10787296" y="2429068"/>
            <a:ext cx="56239" cy="1808314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29" idx="3"/>
            <a:endCxn id="72" idx="2"/>
          </p:cNvCxnSpPr>
          <p:nvPr/>
        </p:nvCxnSpPr>
        <p:spPr>
          <a:xfrm flipV="1">
            <a:off x="11346455" y="4077478"/>
            <a:ext cx="55346" cy="425625"/>
          </a:xfrm>
          <a:prstGeom prst="bentConnector2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ColumnContent"/>
          <p:cNvSpPr>
            <a:spLocks noChangeArrowheads="1"/>
          </p:cNvSpPr>
          <p:nvPr/>
        </p:nvSpPr>
        <p:spPr bwMode="gray">
          <a:xfrm>
            <a:off x="1486831" y="5661619"/>
            <a:ext cx="1005840" cy="44608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end corporate guidelines for plans and budget</a:t>
            </a:r>
          </a:p>
        </p:txBody>
      </p:sp>
      <p:sp>
        <p:nvSpPr>
          <p:cNvPr id="51" name="TextColumnContent"/>
          <p:cNvSpPr>
            <a:spLocks noChangeArrowheads="1"/>
          </p:cNvSpPr>
          <p:nvPr/>
        </p:nvSpPr>
        <p:spPr bwMode="gray">
          <a:xfrm>
            <a:off x="389300" y="5582116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B61872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Corporate planning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1431337" y="5620073"/>
            <a:ext cx="0" cy="531441"/>
          </a:xfrm>
          <a:prstGeom prst="line">
            <a:avLst/>
          </a:prstGeom>
          <a:ln w="16288"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Elbow Connector 58"/>
          <p:cNvCxnSpPr>
            <a:stCxn id="67" idx="0"/>
            <a:endCxn id="12" idx="2"/>
          </p:cNvCxnSpPr>
          <p:nvPr/>
        </p:nvCxnSpPr>
        <p:spPr>
          <a:xfrm flipV="1">
            <a:off x="1989751" y="3386133"/>
            <a:ext cx="0" cy="1230497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ColumnContent"/>
          <p:cNvSpPr>
            <a:spLocks noChangeArrowheads="1"/>
          </p:cNvSpPr>
          <p:nvPr/>
        </p:nvSpPr>
        <p:spPr bwMode="gray">
          <a:xfrm>
            <a:off x="7716236" y="5661620"/>
            <a:ext cx="1005840" cy="44608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Provide feedback for budget planning</a:t>
            </a:r>
          </a:p>
        </p:txBody>
      </p:sp>
      <p:cxnSp>
        <p:nvCxnSpPr>
          <p:cNvPr id="59" name="Elbow Connector 58"/>
          <p:cNvCxnSpPr>
            <a:endCxn id="58" idx="0"/>
          </p:cNvCxnSpPr>
          <p:nvPr/>
        </p:nvCxnSpPr>
        <p:spPr>
          <a:xfrm>
            <a:off x="8219156" y="3346544"/>
            <a:ext cx="0" cy="2315076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iamond 2"/>
          <p:cNvSpPr/>
          <p:nvPr/>
        </p:nvSpPr>
        <p:spPr>
          <a:xfrm>
            <a:off x="11163575" y="4585943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1" name="Diamond 60"/>
          <p:cNvSpPr/>
          <p:nvPr/>
        </p:nvSpPr>
        <p:spPr>
          <a:xfrm>
            <a:off x="8940028" y="3203253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0" name="TextColumnContent"/>
          <p:cNvSpPr>
            <a:spLocks noChangeArrowheads="1"/>
          </p:cNvSpPr>
          <p:nvPr/>
        </p:nvSpPr>
        <p:spPr bwMode="gray">
          <a:xfrm>
            <a:off x="8765757" y="5668443"/>
            <a:ext cx="1005840" cy="44608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end approved corporate plan and budget</a:t>
            </a:r>
          </a:p>
        </p:txBody>
      </p:sp>
      <p:cxnSp>
        <p:nvCxnSpPr>
          <p:cNvPr id="63" name="Elbow Connector 58"/>
          <p:cNvCxnSpPr/>
          <p:nvPr/>
        </p:nvCxnSpPr>
        <p:spPr>
          <a:xfrm flipV="1">
            <a:off x="9287927" y="3386133"/>
            <a:ext cx="0" cy="2276754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ColumnContent"/>
          <p:cNvSpPr>
            <a:spLocks noChangeArrowheads="1"/>
          </p:cNvSpPr>
          <p:nvPr/>
        </p:nvSpPr>
        <p:spPr bwMode="gray">
          <a:xfrm>
            <a:off x="8660858" y="4928727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Review draft strategy and provide feedback</a:t>
            </a:r>
            <a:endParaRPr lang="en-US" sz="950" dirty="0">
              <a:solidFill>
                <a:srgbClr val="575757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ColumnContent"/>
          <p:cNvSpPr>
            <a:spLocks noChangeArrowheads="1"/>
          </p:cNvSpPr>
          <p:nvPr/>
        </p:nvSpPr>
        <p:spPr bwMode="gray">
          <a:xfrm>
            <a:off x="8901425" y="3454236"/>
            <a:ext cx="1005840" cy="186268"/>
          </a:xfrm>
          <a:prstGeom prst="rect">
            <a:avLst/>
          </a:prstGeom>
          <a:noFill/>
          <a:ln w="9049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049" cap="flat" cmpd="sng" algn="ctr">
                <a:solidFill>
                  <a:srgbClr val="B6187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10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Differentiated depth of analysis</a:t>
            </a:r>
          </a:p>
        </p:txBody>
      </p:sp>
      <p:sp>
        <p:nvSpPr>
          <p:cNvPr id="70" name="TextColumnContent"/>
          <p:cNvSpPr>
            <a:spLocks noChangeArrowheads="1"/>
          </p:cNvSpPr>
          <p:nvPr/>
        </p:nvSpPr>
        <p:spPr bwMode="gray">
          <a:xfrm>
            <a:off x="389300" y="2125390"/>
            <a:ext cx="1159994" cy="60735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90805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177B57"/>
              </a:buClr>
              <a:buSzPct val="100000"/>
            </a:pPr>
            <a:r>
              <a:rPr lang="en-US" sz="1200" dirty="0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Head of </a:t>
            </a:r>
            <a:r>
              <a:rPr lang="en-US" sz="1200" dirty="0" err="1">
                <a:solidFill>
                  <a:srgbClr val="634096"/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CM</a:t>
            </a:r>
            <a:endParaRPr lang="en-US" sz="1200" dirty="0">
              <a:solidFill>
                <a:srgbClr val="634096"/>
              </a:solidFill>
              <a:latin typeface="Trebuchet MS" panose="020B0603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1431337" y="2163347"/>
            <a:ext cx="0" cy="531441"/>
          </a:xfrm>
          <a:prstGeom prst="line">
            <a:avLst/>
          </a:prstGeom>
          <a:ln w="16288" cap="flat" cmpd="sng" algn="ctr">
            <a:solidFill>
              <a:srgbClr val="38468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6187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Sourcing Strategic Planning</a:t>
            </a:r>
          </a:p>
        </p:txBody>
      </p:sp>
      <p:sp>
        <p:nvSpPr>
          <p:cNvPr id="69" name="NavigationIcon"/>
          <p:cNvSpPr>
            <a:spLocks noChangeAspect="1"/>
          </p:cNvSpPr>
          <p:nvPr/>
        </p:nvSpPr>
        <p:spPr bwMode="auto">
          <a:xfrm>
            <a:off x="11762998" y="132877"/>
            <a:ext cx="220851" cy="365760"/>
          </a:xfrm>
          <a:custGeom>
            <a:avLst/>
            <a:gdLst>
              <a:gd name="connsiteX0" fmla="*/ 146047 w 754383"/>
              <a:gd name="connsiteY0" fmla="*/ 1054099 h 1249362"/>
              <a:gd name="connsiteX1" fmla="*/ 595723 w 754383"/>
              <a:gd name="connsiteY1" fmla="*/ 1054099 h 1249362"/>
              <a:gd name="connsiteX2" fmla="*/ 600006 w 754383"/>
              <a:gd name="connsiteY2" fmla="*/ 1057675 h 1249362"/>
              <a:gd name="connsiteX3" fmla="*/ 738478 w 754383"/>
              <a:gd name="connsiteY3" fmla="*/ 1225044 h 1249362"/>
              <a:gd name="connsiteX4" fmla="*/ 727057 w 754383"/>
              <a:gd name="connsiteY4" fmla="*/ 1249362 h 1249362"/>
              <a:gd name="connsiteX5" fmla="*/ 14713 w 754383"/>
              <a:gd name="connsiteY5" fmla="*/ 1249362 h 1249362"/>
              <a:gd name="connsiteX6" fmla="*/ 3292 w 754383"/>
              <a:gd name="connsiteY6" fmla="*/ 1225044 h 1249362"/>
              <a:gd name="connsiteX7" fmla="*/ 141764 w 754383"/>
              <a:gd name="connsiteY7" fmla="*/ 1057675 h 1249362"/>
              <a:gd name="connsiteX8" fmla="*/ 146047 w 754383"/>
              <a:gd name="connsiteY8" fmla="*/ 1054099 h 1249362"/>
              <a:gd name="connsiteX9" fmla="*/ 93070 w 754383"/>
              <a:gd name="connsiteY9" fmla="*/ 898524 h 1249362"/>
              <a:gd name="connsiteX10" fmla="*/ 648699 w 754383"/>
              <a:gd name="connsiteY10" fmla="*/ 898524 h 1249362"/>
              <a:gd name="connsiteX11" fmla="*/ 655841 w 754383"/>
              <a:gd name="connsiteY11" fmla="*/ 905682 h 1249362"/>
              <a:gd name="connsiteX12" fmla="*/ 655841 w 754383"/>
              <a:gd name="connsiteY12" fmla="*/ 1015192 h 1249362"/>
              <a:gd name="connsiteX13" fmla="*/ 648699 w 754383"/>
              <a:gd name="connsiteY13" fmla="*/ 1022349 h 1249362"/>
              <a:gd name="connsiteX14" fmla="*/ 93070 w 754383"/>
              <a:gd name="connsiteY14" fmla="*/ 1022349 h 1249362"/>
              <a:gd name="connsiteX15" fmla="*/ 85928 w 754383"/>
              <a:gd name="connsiteY15" fmla="*/ 1015192 h 1249362"/>
              <a:gd name="connsiteX16" fmla="*/ 85928 w 754383"/>
              <a:gd name="connsiteY16" fmla="*/ 905682 h 1249362"/>
              <a:gd name="connsiteX17" fmla="*/ 93070 w 754383"/>
              <a:gd name="connsiteY17" fmla="*/ 898524 h 1249362"/>
              <a:gd name="connsiteX18" fmla="*/ 384014 w 754383"/>
              <a:gd name="connsiteY18" fmla="*/ 0 h 1249362"/>
              <a:gd name="connsiteX19" fmla="*/ 396150 w 754383"/>
              <a:gd name="connsiteY19" fmla="*/ 4277 h 1249362"/>
              <a:gd name="connsiteX20" fmla="*/ 406858 w 754383"/>
              <a:gd name="connsiteY20" fmla="*/ 54174 h 1249362"/>
              <a:gd name="connsiteX21" fmla="*/ 401861 w 754383"/>
              <a:gd name="connsiteY21" fmla="*/ 81260 h 1249362"/>
              <a:gd name="connsiteX22" fmla="*/ 400434 w 754383"/>
              <a:gd name="connsiteY22" fmla="*/ 87676 h 1249362"/>
              <a:gd name="connsiteX23" fmla="*/ 432558 w 754383"/>
              <a:gd name="connsiteY23" fmla="*/ 99793 h 1249362"/>
              <a:gd name="connsiteX24" fmla="*/ 553205 w 754383"/>
              <a:gd name="connsiteY24" fmla="*/ 157531 h 1249362"/>
              <a:gd name="connsiteX25" fmla="*/ 580333 w 754383"/>
              <a:gd name="connsiteY25" fmla="*/ 200299 h 1249362"/>
              <a:gd name="connsiteX26" fmla="*/ 587472 w 754383"/>
              <a:gd name="connsiteY26" fmla="*/ 212417 h 1249362"/>
              <a:gd name="connsiteX27" fmla="*/ 613885 w 754383"/>
              <a:gd name="connsiteY27" fmla="*/ 230950 h 1249362"/>
              <a:gd name="connsiteX28" fmla="*/ 740957 w 754383"/>
              <a:gd name="connsiteY28" fmla="*/ 335733 h 1249362"/>
              <a:gd name="connsiteX29" fmla="*/ 703835 w 754383"/>
              <a:gd name="connsiteY29" fmla="*/ 501817 h 1249362"/>
              <a:gd name="connsiteX30" fmla="*/ 566055 w 754383"/>
              <a:gd name="connsiteY30" fmla="*/ 456910 h 1249362"/>
              <a:gd name="connsiteX31" fmla="*/ 536072 w 754383"/>
              <a:gd name="connsiteY31" fmla="*/ 436239 h 1249362"/>
              <a:gd name="connsiteX32" fmla="*/ 499664 w 754383"/>
              <a:gd name="connsiteY32" fmla="*/ 449069 h 1249362"/>
              <a:gd name="connsiteX33" fmla="*/ 434700 w 754383"/>
              <a:gd name="connsiteY33" fmla="*/ 471879 h 1249362"/>
              <a:gd name="connsiteX34" fmla="*/ 457544 w 754383"/>
              <a:gd name="connsiteY34" fmla="*/ 509658 h 1249362"/>
              <a:gd name="connsiteX35" fmla="*/ 462542 w 754383"/>
              <a:gd name="connsiteY35" fmla="*/ 514648 h 1249362"/>
              <a:gd name="connsiteX36" fmla="*/ 567483 w 754383"/>
              <a:gd name="connsiteY36" fmla="*/ 657209 h 1249362"/>
              <a:gd name="connsiteX37" fmla="*/ 597466 w 754383"/>
              <a:gd name="connsiteY37" fmla="*/ 866775 h 1249362"/>
              <a:gd name="connsiteX38" fmla="*/ 563200 w 754383"/>
              <a:gd name="connsiteY38" fmla="*/ 866775 h 1249362"/>
              <a:gd name="connsiteX39" fmla="*/ 565341 w 754383"/>
              <a:gd name="connsiteY39" fmla="*/ 861073 h 1249362"/>
              <a:gd name="connsiteX40" fmla="*/ 439697 w 754383"/>
              <a:gd name="connsiteY40" fmla="*/ 536032 h 1249362"/>
              <a:gd name="connsiteX41" fmla="*/ 433986 w 754383"/>
              <a:gd name="connsiteY41" fmla="*/ 529617 h 1249362"/>
              <a:gd name="connsiteX42" fmla="*/ 395436 w 754383"/>
              <a:gd name="connsiteY42" fmla="*/ 462613 h 1249362"/>
              <a:gd name="connsiteX43" fmla="*/ 397578 w 754383"/>
              <a:gd name="connsiteY43" fmla="*/ 445505 h 1249362"/>
              <a:gd name="connsiteX44" fmla="*/ 414711 w 754383"/>
              <a:gd name="connsiteY44" fmla="*/ 441229 h 1249362"/>
              <a:gd name="connsiteX45" fmla="*/ 487528 w 754383"/>
              <a:gd name="connsiteY45" fmla="*/ 420557 h 1249362"/>
              <a:gd name="connsiteX46" fmla="*/ 533216 w 754383"/>
              <a:gd name="connsiteY46" fmla="*/ 404875 h 1249362"/>
              <a:gd name="connsiteX47" fmla="*/ 585330 w 754383"/>
              <a:gd name="connsiteY47" fmla="*/ 431962 h 1249362"/>
              <a:gd name="connsiteX48" fmla="*/ 690271 w 754383"/>
              <a:gd name="connsiteY48" fmla="*/ 473305 h 1249362"/>
              <a:gd name="connsiteX49" fmla="*/ 711688 w 754383"/>
              <a:gd name="connsiteY49" fmla="*/ 348563 h 1249362"/>
              <a:gd name="connsiteX50" fmla="*/ 595324 w 754383"/>
              <a:gd name="connsiteY50" fmla="*/ 256611 h 1249362"/>
              <a:gd name="connsiteX51" fmla="*/ 566769 w 754383"/>
              <a:gd name="connsiteY51" fmla="*/ 235227 h 1249362"/>
              <a:gd name="connsiteX52" fmla="*/ 552491 w 754383"/>
              <a:gd name="connsiteY52" fmla="*/ 213843 h 1249362"/>
              <a:gd name="connsiteX53" fmla="*/ 529647 w 754383"/>
              <a:gd name="connsiteY53" fmla="*/ 177489 h 1249362"/>
              <a:gd name="connsiteX54" fmla="*/ 422564 w 754383"/>
              <a:gd name="connsiteY54" fmla="*/ 129731 h 1249362"/>
              <a:gd name="connsiteX55" fmla="*/ 383300 w 754383"/>
              <a:gd name="connsiteY55" fmla="*/ 114762 h 1249362"/>
              <a:gd name="connsiteX56" fmla="*/ 371164 w 754383"/>
              <a:gd name="connsiteY56" fmla="*/ 74132 h 1249362"/>
              <a:gd name="connsiteX57" fmla="*/ 375448 w 754383"/>
              <a:gd name="connsiteY57" fmla="*/ 51322 h 1249362"/>
              <a:gd name="connsiteX58" fmla="*/ 375448 w 754383"/>
              <a:gd name="connsiteY58" fmla="*/ 33502 h 1249362"/>
              <a:gd name="connsiteX59" fmla="*/ 296920 w 754383"/>
              <a:gd name="connsiteY59" fmla="*/ 106921 h 1249362"/>
              <a:gd name="connsiteX60" fmla="*/ 294778 w 754383"/>
              <a:gd name="connsiteY60" fmla="*/ 109773 h 1249362"/>
              <a:gd name="connsiteX61" fmla="*/ 156285 w 754383"/>
              <a:gd name="connsiteY61" fmla="*/ 258750 h 1249362"/>
              <a:gd name="connsiteX62" fmla="*/ 143435 w 754383"/>
              <a:gd name="connsiteY62" fmla="*/ 303657 h 1249362"/>
              <a:gd name="connsiteX63" fmla="*/ 280501 w 754383"/>
              <a:gd name="connsiteY63" fmla="*/ 520350 h 1249362"/>
              <a:gd name="connsiteX64" fmla="*/ 277645 w 754383"/>
              <a:gd name="connsiteY64" fmla="*/ 540309 h 1249362"/>
              <a:gd name="connsiteX65" fmla="*/ 256942 w 754383"/>
              <a:gd name="connsiteY65" fmla="*/ 540309 h 1249362"/>
              <a:gd name="connsiteX66" fmla="*/ 121304 w 754383"/>
              <a:gd name="connsiteY66" fmla="*/ 419844 h 1249362"/>
              <a:gd name="connsiteX67" fmla="*/ 124874 w 754383"/>
              <a:gd name="connsiteY67" fmla="*/ 476869 h 1249362"/>
              <a:gd name="connsiteX68" fmla="*/ 251945 w 754383"/>
              <a:gd name="connsiteY68" fmla="*/ 627272 h 1249362"/>
              <a:gd name="connsiteX69" fmla="*/ 252659 w 754383"/>
              <a:gd name="connsiteY69" fmla="*/ 647943 h 1249362"/>
              <a:gd name="connsiteX70" fmla="*/ 232670 w 754383"/>
              <a:gd name="connsiteY70" fmla="*/ 650794 h 1249362"/>
              <a:gd name="connsiteX71" fmla="*/ 125587 w 754383"/>
              <a:gd name="connsiteY71" fmla="*/ 585929 h 1249362"/>
              <a:gd name="connsiteX72" fmla="*/ 129157 w 754383"/>
              <a:gd name="connsiteY72" fmla="*/ 618718 h 1249362"/>
              <a:gd name="connsiteX73" fmla="*/ 222676 w 754383"/>
              <a:gd name="connsiteY73" fmla="*/ 717085 h 1249362"/>
              <a:gd name="connsiteX74" fmla="*/ 224818 w 754383"/>
              <a:gd name="connsiteY74" fmla="*/ 737044 h 1249362"/>
              <a:gd name="connsiteX75" fmla="*/ 205543 w 754383"/>
              <a:gd name="connsiteY75" fmla="*/ 743459 h 1249362"/>
              <a:gd name="connsiteX76" fmla="*/ 144148 w 754383"/>
              <a:gd name="connsiteY76" fmla="*/ 723501 h 1249362"/>
              <a:gd name="connsiteX77" fmla="*/ 152715 w 754383"/>
              <a:gd name="connsiteY77" fmla="*/ 866775 h 1249362"/>
              <a:gd name="connsiteX78" fmla="*/ 121304 w 754383"/>
              <a:gd name="connsiteY78" fmla="*/ 866775 h 1249362"/>
              <a:gd name="connsiteX79" fmla="*/ 114879 w 754383"/>
              <a:gd name="connsiteY79" fmla="*/ 791930 h 1249362"/>
              <a:gd name="connsiteX80" fmla="*/ 124874 w 754383"/>
              <a:gd name="connsiteY80" fmla="*/ 694276 h 1249362"/>
              <a:gd name="connsiteX81" fmla="*/ 153429 w 754383"/>
              <a:gd name="connsiteY81" fmla="*/ 692850 h 1249362"/>
              <a:gd name="connsiteX82" fmla="*/ 99174 w 754383"/>
              <a:gd name="connsiteY82" fmla="*/ 627272 h 1249362"/>
              <a:gd name="connsiteX83" fmla="*/ 104885 w 754383"/>
              <a:gd name="connsiteY83" fmla="*/ 551714 h 1249362"/>
              <a:gd name="connsiteX84" fmla="*/ 127729 w 754383"/>
              <a:gd name="connsiteY84" fmla="*/ 550288 h 1249362"/>
              <a:gd name="connsiteX85" fmla="*/ 157712 w 754383"/>
              <a:gd name="connsiteY85" fmla="*/ 568108 h 1249362"/>
              <a:gd name="connsiteX86" fmla="*/ 94890 w 754383"/>
              <a:gd name="connsiteY86" fmla="*/ 485423 h 1249362"/>
              <a:gd name="connsiteX87" fmla="*/ 99174 w 754383"/>
              <a:gd name="connsiteY87" fmla="*/ 386342 h 1249362"/>
              <a:gd name="connsiteX88" fmla="*/ 117735 w 754383"/>
              <a:gd name="connsiteY88" fmla="*/ 380640 h 1249362"/>
              <a:gd name="connsiteX89" fmla="*/ 189123 w 754383"/>
              <a:gd name="connsiteY89" fmla="*/ 436239 h 1249362"/>
              <a:gd name="connsiteX90" fmla="*/ 184126 w 754383"/>
              <a:gd name="connsiteY90" fmla="*/ 429111 h 1249362"/>
              <a:gd name="connsiteX91" fmla="*/ 112024 w 754383"/>
              <a:gd name="connsiteY91" fmla="*/ 306508 h 1249362"/>
              <a:gd name="connsiteX92" fmla="*/ 136296 w 754383"/>
              <a:gd name="connsiteY92" fmla="*/ 234514 h 1249362"/>
              <a:gd name="connsiteX93" fmla="*/ 269078 w 754383"/>
              <a:gd name="connsiteY93" fmla="*/ 92665 h 1249362"/>
              <a:gd name="connsiteX94" fmla="*/ 271220 w 754383"/>
              <a:gd name="connsiteY94" fmla="*/ 89101 h 1249362"/>
              <a:gd name="connsiteX95" fmla="*/ 384014 w 754383"/>
              <a:gd name="connsiteY95" fmla="*/ 0 h 1249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754383" h="1249362">
                <a:moveTo>
                  <a:pt x="146047" y="1054099"/>
                </a:moveTo>
                <a:cubicBezTo>
                  <a:pt x="146047" y="1054099"/>
                  <a:pt x="146047" y="1054099"/>
                  <a:pt x="595723" y="1054099"/>
                </a:cubicBezTo>
                <a:cubicBezTo>
                  <a:pt x="597151" y="1055530"/>
                  <a:pt x="598578" y="1056245"/>
                  <a:pt x="600006" y="1057675"/>
                </a:cubicBezTo>
                <a:cubicBezTo>
                  <a:pt x="600006" y="1057675"/>
                  <a:pt x="600006" y="1057675"/>
                  <a:pt x="738478" y="1225044"/>
                </a:cubicBezTo>
                <a:cubicBezTo>
                  <a:pt x="746329" y="1234342"/>
                  <a:pt x="739192" y="1249362"/>
                  <a:pt x="727057" y="1249362"/>
                </a:cubicBezTo>
                <a:cubicBezTo>
                  <a:pt x="727057" y="1249362"/>
                  <a:pt x="727057" y="1249362"/>
                  <a:pt x="14713" y="1249362"/>
                </a:cubicBezTo>
                <a:cubicBezTo>
                  <a:pt x="2578" y="1249362"/>
                  <a:pt x="-4559" y="1234342"/>
                  <a:pt x="3292" y="1225044"/>
                </a:cubicBezTo>
                <a:cubicBezTo>
                  <a:pt x="3292" y="1225044"/>
                  <a:pt x="3292" y="1225044"/>
                  <a:pt x="141764" y="1057675"/>
                </a:cubicBezTo>
                <a:cubicBezTo>
                  <a:pt x="143192" y="1056245"/>
                  <a:pt x="144620" y="1055530"/>
                  <a:pt x="146047" y="1054099"/>
                </a:cubicBezTo>
                <a:close/>
                <a:moveTo>
                  <a:pt x="93070" y="898524"/>
                </a:moveTo>
                <a:cubicBezTo>
                  <a:pt x="93070" y="898524"/>
                  <a:pt x="93070" y="898524"/>
                  <a:pt x="648699" y="898524"/>
                </a:cubicBezTo>
                <a:cubicBezTo>
                  <a:pt x="652270" y="898524"/>
                  <a:pt x="655841" y="902103"/>
                  <a:pt x="655841" y="905682"/>
                </a:cubicBezTo>
                <a:cubicBezTo>
                  <a:pt x="655841" y="905682"/>
                  <a:pt x="655841" y="905682"/>
                  <a:pt x="655841" y="1015192"/>
                </a:cubicBezTo>
                <a:cubicBezTo>
                  <a:pt x="655841" y="1019486"/>
                  <a:pt x="652270" y="1022349"/>
                  <a:pt x="648699" y="1022349"/>
                </a:cubicBezTo>
                <a:cubicBezTo>
                  <a:pt x="648699" y="1022349"/>
                  <a:pt x="648699" y="1022349"/>
                  <a:pt x="93070" y="1022349"/>
                </a:cubicBezTo>
                <a:cubicBezTo>
                  <a:pt x="89499" y="1022349"/>
                  <a:pt x="85928" y="1019486"/>
                  <a:pt x="85928" y="1015192"/>
                </a:cubicBezTo>
                <a:cubicBezTo>
                  <a:pt x="85928" y="1015192"/>
                  <a:pt x="85928" y="1015192"/>
                  <a:pt x="85928" y="905682"/>
                </a:cubicBezTo>
                <a:cubicBezTo>
                  <a:pt x="85928" y="902103"/>
                  <a:pt x="89499" y="898524"/>
                  <a:pt x="93070" y="898524"/>
                </a:cubicBezTo>
                <a:close/>
                <a:moveTo>
                  <a:pt x="384014" y="0"/>
                </a:moveTo>
                <a:cubicBezTo>
                  <a:pt x="388297" y="0"/>
                  <a:pt x="392581" y="1426"/>
                  <a:pt x="396150" y="4277"/>
                </a:cubicBezTo>
                <a:cubicBezTo>
                  <a:pt x="400434" y="7841"/>
                  <a:pt x="409714" y="19959"/>
                  <a:pt x="406858" y="54174"/>
                </a:cubicBezTo>
                <a:cubicBezTo>
                  <a:pt x="405431" y="66291"/>
                  <a:pt x="403289" y="74845"/>
                  <a:pt x="401861" y="81260"/>
                </a:cubicBezTo>
                <a:cubicBezTo>
                  <a:pt x="401147" y="83399"/>
                  <a:pt x="400434" y="86250"/>
                  <a:pt x="400434" y="87676"/>
                </a:cubicBezTo>
                <a:cubicBezTo>
                  <a:pt x="404003" y="89814"/>
                  <a:pt x="418995" y="95516"/>
                  <a:pt x="432558" y="99793"/>
                </a:cubicBezTo>
                <a:cubicBezTo>
                  <a:pt x="488242" y="119039"/>
                  <a:pt x="536072" y="136147"/>
                  <a:pt x="553205" y="157531"/>
                </a:cubicBezTo>
                <a:cubicBezTo>
                  <a:pt x="568197" y="175351"/>
                  <a:pt x="575336" y="189607"/>
                  <a:pt x="580333" y="200299"/>
                </a:cubicBezTo>
                <a:cubicBezTo>
                  <a:pt x="583188" y="205289"/>
                  <a:pt x="585330" y="210279"/>
                  <a:pt x="587472" y="212417"/>
                </a:cubicBezTo>
                <a:cubicBezTo>
                  <a:pt x="589613" y="214555"/>
                  <a:pt x="601749" y="223109"/>
                  <a:pt x="613885" y="230950"/>
                </a:cubicBezTo>
                <a:cubicBezTo>
                  <a:pt x="690271" y="285123"/>
                  <a:pt x="733104" y="317913"/>
                  <a:pt x="740957" y="335733"/>
                </a:cubicBezTo>
                <a:cubicBezTo>
                  <a:pt x="751665" y="362107"/>
                  <a:pt x="778079" y="466890"/>
                  <a:pt x="703835" y="501817"/>
                </a:cubicBezTo>
                <a:cubicBezTo>
                  <a:pt x="654577" y="525340"/>
                  <a:pt x="601035" y="483997"/>
                  <a:pt x="566055" y="456910"/>
                </a:cubicBezTo>
                <a:cubicBezTo>
                  <a:pt x="555347" y="448357"/>
                  <a:pt x="541069" y="437664"/>
                  <a:pt x="536072" y="436239"/>
                </a:cubicBezTo>
                <a:cubicBezTo>
                  <a:pt x="528933" y="437664"/>
                  <a:pt x="513228" y="443367"/>
                  <a:pt x="499664" y="449069"/>
                </a:cubicBezTo>
                <a:cubicBezTo>
                  <a:pt x="473964" y="459762"/>
                  <a:pt x="452547" y="468315"/>
                  <a:pt x="434700" y="471879"/>
                </a:cubicBezTo>
                <a:cubicBezTo>
                  <a:pt x="441839" y="485423"/>
                  <a:pt x="451119" y="501104"/>
                  <a:pt x="457544" y="509658"/>
                </a:cubicBezTo>
                <a:cubicBezTo>
                  <a:pt x="458972" y="510371"/>
                  <a:pt x="460400" y="512509"/>
                  <a:pt x="462542" y="514648"/>
                </a:cubicBezTo>
                <a:cubicBezTo>
                  <a:pt x="479675" y="533181"/>
                  <a:pt x="530361" y="589493"/>
                  <a:pt x="567483" y="657209"/>
                </a:cubicBezTo>
                <a:cubicBezTo>
                  <a:pt x="613885" y="739895"/>
                  <a:pt x="623880" y="810463"/>
                  <a:pt x="597466" y="866775"/>
                </a:cubicBezTo>
                <a:cubicBezTo>
                  <a:pt x="597466" y="866775"/>
                  <a:pt x="597466" y="866775"/>
                  <a:pt x="563200" y="866775"/>
                </a:cubicBezTo>
                <a:cubicBezTo>
                  <a:pt x="563200" y="864637"/>
                  <a:pt x="563913" y="863211"/>
                  <a:pt x="565341" y="861073"/>
                </a:cubicBezTo>
                <a:cubicBezTo>
                  <a:pt x="606747" y="786941"/>
                  <a:pt x="561772" y="671466"/>
                  <a:pt x="439697" y="536032"/>
                </a:cubicBezTo>
                <a:cubicBezTo>
                  <a:pt x="436842" y="533181"/>
                  <a:pt x="434700" y="531042"/>
                  <a:pt x="433986" y="529617"/>
                </a:cubicBezTo>
                <a:cubicBezTo>
                  <a:pt x="417567" y="510371"/>
                  <a:pt x="397578" y="467602"/>
                  <a:pt x="395436" y="462613"/>
                </a:cubicBezTo>
                <a:cubicBezTo>
                  <a:pt x="392581" y="456910"/>
                  <a:pt x="393295" y="449782"/>
                  <a:pt x="397578" y="445505"/>
                </a:cubicBezTo>
                <a:cubicBezTo>
                  <a:pt x="401861" y="440516"/>
                  <a:pt x="409000" y="439090"/>
                  <a:pt x="414711" y="441229"/>
                </a:cubicBezTo>
                <a:cubicBezTo>
                  <a:pt x="426133" y="445505"/>
                  <a:pt x="466111" y="429111"/>
                  <a:pt x="487528" y="420557"/>
                </a:cubicBezTo>
                <a:cubicBezTo>
                  <a:pt x="506803" y="412716"/>
                  <a:pt x="522508" y="406301"/>
                  <a:pt x="533216" y="404875"/>
                </a:cubicBezTo>
                <a:cubicBezTo>
                  <a:pt x="547494" y="403450"/>
                  <a:pt x="562486" y="414855"/>
                  <a:pt x="585330" y="431962"/>
                </a:cubicBezTo>
                <a:cubicBezTo>
                  <a:pt x="616027" y="455485"/>
                  <a:pt x="658860" y="488274"/>
                  <a:pt x="690271" y="473305"/>
                </a:cubicBezTo>
                <a:cubicBezTo>
                  <a:pt x="741671" y="449782"/>
                  <a:pt x="718827" y="364245"/>
                  <a:pt x="711688" y="348563"/>
                </a:cubicBezTo>
                <a:cubicBezTo>
                  <a:pt x="704549" y="333594"/>
                  <a:pt x="625308" y="277995"/>
                  <a:pt x="595324" y="256611"/>
                </a:cubicBezTo>
                <a:cubicBezTo>
                  <a:pt x="577477" y="244493"/>
                  <a:pt x="569625" y="238791"/>
                  <a:pt x="566769" y="235227"/>
                </a:cubicBezTo>
                <a:cubicBezTo>
                  <a:pt x="559630" y="229524"/>
                  <a:pt x="556061" y="222396"/>
                  <a:pt x="552491" y="213843"/>
                </a:cubicBezTo>
                <a:cubicBezTo>
                  <a:pt x="547494" y="203863"/>
                  <a:pt x="541783" y="192458"/>
                  <a:pt x="529647" y="177489"/>
                </a:cubicBezTo>
                <a:cubicBezTo>
                  <a:pt x="516083" y="161808"/>
                  <a:pt x="455403" y="140423"/>
                  <a:pt x="422564" y="129731"/>
                </a:cubicBezTo>
                <a:cubicBezTo>
                  <a:pt x="400434" y="121890"/>
                  <a:pt x="389011" y="118326"/>
                  <a:pt x="383300" y="114762"/>
                </a:cubicBezTo>
                <a:cubicBezTo>
                  <a:pt x="364025" y="102645"/>
                  <a:pt x="368309" y="86250"/>
                  <a:pt x="371164" y="74132"/>
                </a:cubicBezTo>
                <a:cubicBezTo>
                  <a:pt x="372592" y="67717"/>
                  <a:pt x="374734" y="60589"/>
                  <a:pt x="375448" y="51322"/>
                </a:cubicBezTo>
                <a:cubicBezTo>
                  <a:pt x="376161" y="43481"/>
                  <a:pt x="376161" y="37779"/>
                  <a:pt x="375448" y="33502"/>
                </a:cubicBezTo>
                <a:cubicBezTo>
                  <a:pt x="339039" y="44907"/>
                  <a:pt x="308342" y="90527"/>
                  <a:pt x="296920" y="106921"/>
                </a:cubicBezTo>
                <a:cubicBezTo>
                  <a:pt x="296920" y="106921"/>
                  <a:pt x="296920" y="106921"/>
                  <a:pt x="294778" y="109773"/>
                </a:cubicBezTo>
                <a:cubicBezTo>
                  <a:pt x="281928" y="129018"/>
                  <a:pt x="171990" y="245919"/>
                  <a:pt x="156285" y="258750"/>
                </a:cubicBezTo>
                <a:cubicBezTo>
                  <a:pt x="149146" y="264452"/>
                  <a:pt x="144148" y="288688"/>
                  <a:pt x="143435" y="303657"/>
                </a:cubicBezTo>
                <a:cubicBezTo>
                  <a:pt x="154143" y="324328"/>
                  <a:pt x="231956" y="445505"/>
                  <a:pt x="280501" y="520350"/>
                </a:cubicBezTo>
                <a:cubicBezTo>
                  <a:pt x="284784" y="526766"/>
                  <a:pt x="283356" y="535319"/>
                  <a:pt x="277645" y="540309"/>
                </a:cubicBezTo>
                <a:cubicBezTo>
                  <a:pt x="271220" y="546011"/>
                  <a:pt x="262654" y="545299"/>
                  <a:pt x="256942" y="540309"/>
                </a:cubicBezTo>
                <a:cubicBezTo>
                  <a:pt x="204829" y="491838"/>
                  <a:pt x="147004" y="440516"/>
                  <a:pt x="121304" y="419844"/>
                </a:cubicBezTo>
                <a:cubicBezTo>
                  <a:pt x="119876" y="436952"/>
                  <a:pt x="121304" y="464751"/>
                  <a:pt x="124874" y="476869"/>
                </a:cubicBezTo>
                <a:cubicBezTo>
                  <a:pt x="130585" y="490412"/>
                  <a:pt x="194120" y="563832"/>
                  <a:pt x="251945" y="627272"/>
                </a:cubicBezTo>
                <a:cubicBezTo>
                  <a:pt x="257656" y="632974"/>
                  <a:pt x="257656" y="641528"/>
                  <a:pt x="252659" y="647943"/>
                </a:cubicBezTo>
                <a:cubicBezTo>
                  <a:pt x="247662" y="653645"/>
                  <a:pt x="239095" y="655071"/>
                  <a:pt x="232670" y="650794"/>
                </a:cubicBezTo>
                <a:cubicBezTo>
                  <a:pt x="231243" y="650794"/>
                  <a:pt x="157712" y="605174"/>
                  <a:pt x="125587" y="585929"/>
                </a:cubicBezTo>
                <a:cubicBezTo>
                  <a:pt x="125587" y="595908"/>
                  <a:pt x="127015" y="610164"/>
                  <a:pt x="129157" y="618718"/>
                </a:cubicBezTo>
                <a:cubicBezTo>
                  <a:pt x="134868" y="629410"/>
                  <a:pt x="181984" y="677881"/>
                  <a:pt x="222676" y="717085"/>
                </a:cubicBezTo>
                <a:cubicBezTo>
                  <a:pt x="228387" y="722788"/>
                  <a:pt x="229101" y="730629"/>
                  <a:pt x="224818" y="737044"/>
                </a:cubicBezTo>
                <a:cubicBezTo>
                  <a:pt x="220534" y="743459"/>
                  <a:pt x="212682" y="746311"/>
                  <a:pt x="205543" y="743459"/>
                </a:cubicBezTo>
                <a:cubicBezTo>
                  <a:pt x="181984" y="733480"/>
                  <a:pt x="156998" y="725639"/>
                  <a:pt x="144148" y="723501"/>
                </a:cubicBezTo>
                <a:cubicBezTo>
                  <a:pt x="142721" y="746311"/>
                  <a:pt x="147004" y="811889"/>
                  <a:pt x="152715" y="866775"/>
                </a:cubicBezTo>
                <a:cubicBezTo>
                  <a:pt x="152715" y="866775"/>
                  <a:pt x="152715" y="866775"/>
                  <a:pt x="121304" y="866775"/>
                </a:cubicBezTo>
                <a:cubicBezTo>
                  <a:pt x="119876" y="856796"/>
                  <a:pt x="117021" y="824007"/>
                  <a:pt x="114879" y="791930"/>
                </a:cubicBezTo>
                <a:cubicBezTo>
                  <a:pt x="109168" y="707106"/>
                  <a:pt x="114879" y="699265"/>
                  <a:pt x="124874" y="694276"/>
                </a:cubicBezTo>
                <a:cubicBezTo>
                  <a:pt x="127729" y="692137"/>
                  <a:pt x="134154" y="689286"/>
                  <a:pt x="153429" y="692850"/>
                </a:cubicBezTo>
                <a:cubicBezTo>
                  <a:pt x="125587" y="664338"/>
                  <a:pt x="102029" y="638676"/>
                  <a:pt x="99174" y="627272"/>
                </a:cubicBezTo>
                <a:cubicBezTo>
                  <a:pt x="99174" y="626559"/>
                  <a:pt x="84182" y="567396"/>
                  <a:pt x="104885" y="551714"/>
                </a:cubicBezTo>
                <a:cubicBezTo>
                  <a:pt x="111310" y="546724"/>
                  <a:pt x="119876" y="546011"/>
                  <a:pt x="127729" y="550288"/>
                </a:cubicBezTo>
                <a:cubicBezTo>
                  <a:pt x="132012" y="553139"/>
                  <a:pt x="143435" y="559555"/>
                  <a:pt x="157712" y="568108"/>
                </a:cubicBezTo>
                <a:cubicBezTo>
                  <a:pt x="125587" y="531755"/>
                  <a:pt x="97746" y="497540"/>
                  <a:pt x="94890" y="485423"/>
                </a:cubicBezTo>
                <a:cubicBezTo>
                  <a:pt x="91321" y="473305"/>
                  <a:pt x="82754" y="404162"/>
                  <a:pt x="99174" y="386342"/>
                </a:cubicBezTo>
                <a:cubicBezTo>
                  <a:pt x="104171" y="381353"/>
                  <a:pt x="111310" y="379214"/>
                  <a:pt x="117735" y="380640"/>
                </a:cubicBezTo>
                <a:cubicBezTo>
                  <a:pt x="122732" y="381353"/>
                  <a:pt x="128443" y="382778"/>
                  <a:pt x="189123" y="436239"/>
                </a:cubicBezTo>
                <a:cubicBezTo>
                  <a:pt x="187695" y="434100"/>
                  <a:pt x="186268" y="431249"/>
                  <a:pt x="184126" y="429111"/>
                </a:cubicBezTo>
                <a:cubicBezTo>
                  <a:pt x="112024" y="316487"/>
                  <a:pt x="112024" y="312923"/>
                  <a:pt x="112024" y="306508"/>
                </a:cubicBezTo>
                <a:cubicBezTo>
                  <a:pt x="112024" y="306508"/>
                  <a:pt x="112737" y="253760"/>
                  <a:pt x="136296" y="234514"/>
                </a:cubicBezTo>
                <a:cubicBezTo>
                  <a:pt x="152001" y="221684"/>
                  <a:pt x="258370" y="106921"/>
                  <a:pt x="269078" y="92665"/>
                </a:cubicBezTo>
                <a:cubicBezTo>
                  <a:pt x="269078" y="92665"/>
                  <a:pt x="269078" y="92665"/>
                  <a:pt x="271220" y="89101"/>
                </a:cubicBezTo>
                <a:cubicBezTo>
                  <a:pt x="286926" y="66291"/>
                  <a:pt x="327617" y="4990"/>
                  <a:pt x="384014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26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72" name="TextColumnContent"/>
          <p:cNvSpPr>
            <a:spLocks noChangeArrowheads="1"/>
          </p:cNvSpPr>
          <p:nvPr/>
        </p:nvSpPr>
        <p:spPr bwMode="gray">
          <a:xfrm>
            <a:off x="10898881" y="3546037"/>
            <a:ext cx="1005840" cy="531441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pprove planned strategies</a:t>
            </a:r>
          </a:p>
        </p:txBody>
      </p:sp>
      <p:sp>
        <p:nvSpPr>
          <p:cNvPr id="74" name="Diamond 73"/>
          <p:cNvSpPr/>
          <p:nvPr/>
        </p:nvSpPr>
        <p:spPr>
          <a:xfrm>
            <a:off x="11721841" y="3907714"/>
            <a:ext cx="182880" cy="182880"/>
          </a:xfrm>
          <a:prstGeom prst="diamond">
            <a:avLst/>
          </a:prstGeom>
          <a:solidFill>
            <a:srgbClr val="63409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B6187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76" name="Elbow Connector 75"/>
          <p:cNvCxnSpPr>
            <a:stCxn id="72" idx="0"/>
            <a:endCxn id="17" idx="2"/>
          </p:cNvCxnSpPr>
          <p:nvPr/>
        </p:nvCxnSpPr>
        <p:spPr>
          <a:xfrm rot="5400000" flipH="1" flipV="1">
            <a:off x="11413034" y="3374900"/>
            <a:ext cx="159904" cy="182370"/>
          </a:xfrm>
          <a:prstGeom prst="bentConnector3">
            <a:avLst>
              <a:gd name="adj1" fmla="val 50000"/>
            </a:avLst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ColumnContent"/>
          <p:cNvSpPr>
            <a:spLocks noChangeArrowheads="1"/>
          </p:cNvSpPr>
          <p:nvPr/>
        </p:nvSpPr>
        <p:spPr bwMode="gray">
          <a:xfrm>
            <a:off x="1486831" y="4616630"/>
            <a:ext cx="1005840" cy="446083"/>
          </a:xfrm>
          <a:prstGeom prst="rect">
            <a:avLst/>
          </a:prstGeom>
          <a:solidFill>
            <a:srgbClr val="FFFFFF"/>
          </a:solidFill>
          <a:ln w="9049" cap="flat" cmpd="sng" algn="ctr">
            <a:solidFill>
              <a:srgbClr val="B6187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anchor="ctr" anchorCtr="0">
            <a:noAutofit/>
          </a:bodyPr>
          <a:lstStyle/>
          <a:p>
            <a:pPr algn="ctr" fontAlgn="base">
              <a:buSzPct val="100000"/>
              <a:buFont typeface="Trebuchet MS" panose="020B0603020202020204" pitchFamily="34" charset="0"/>
              <a:buChar char="​"/>
            </a:pP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Send area</a:t>
            </a:r>
            <a:b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</a:br>
            <a:r>
              <a:rPr lang="en-US" sz="950" dirty="0">
                <a:solidFill>
                  <a:srgbClr val="7F7F7F">
                    <a:lumMod val="100000"/>
                  </a:srgbClr>
                </a:solidFill>
                <a:latin typeface="Trebuchet MS" panose="020B0603020202020204" pitchFamily="34" charset="0"/>
                <a:cs typeface="Arial" pitchFamily="34" charset="0"/>
                <a:sym typeface="Arial" panose="020B0604020202020204" pitchFamily="34" charset="0"/>
              </a:rPr>
              <a:t>activity plan</a:t>
            </a:r>
          </a:p>
        </p:txBody>
      </p:sp>
      <p:cxnSp>
        <p:nvCxnSpPr>
          <p:cNvPr id="68" name="Elbow Connector 58"/>
          <p:cNvCxnSpPr>
            <a:stCxn id="67" idx="0"/>
            <a:endCxn id="12" idx="2"/>
          </p:cNvCxnSpPr>
          <p:nvPr/>
        </p:nvCxnSpPr>
        <p:spPr>
          <a:xfrm flipV="1">
            <a:off x="1989751" y="3386133"/>
            <a:ext cx="0" cy="1230497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58"/>
          <p:cNvCxnSpPr>
            <a:stCxn id="67" idx="0"/>
            <a:endCxn id="12" idx="2"/>
          </p:cNvCxnSpPr>
          <p:nvPr/>
        </p:nvCxnSpPr>
        <p:spPr>
          <a:xfrm flipV="1">
            <a:off x="1989751" y="3386133"/>
            <a:ext cx="0" cy="1230497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Elbow Connector 58"/>
          <p:cNvCxnSpPr>
            <a:stCxn id="67" idx="2"/>
            <a:endCxn id="50" idx="0"/>
          </p:cNvCxnSpPr>
          <p:nvPr/>
        </p:nvCxnSpPr>
        <p:spPr>
          <a:xfrm>
            <a:off x="1989751" y="5062713"/>
            <a:ext cx="0" cy="598906"/>
          </a:xfrm>
          <a:prstGeom prst="straightConnector1">
            <a:avLst/>
          </a:prstGeom>
          <a:ln w="9049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triangl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51099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ID" val="nQShbpF6"/>
  <p:tag name="EE4P_STYLE_NAME" val="Frontera Energy Grid 16:9"/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7&quot; g=&quot;D4&quot; b=&quot;75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Trebuchet MS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Trebuchet MS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Trebuchet MS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 singleSlideId=&quot;d834dcac-d943-433b-ba75-914910858bff&quot; backupSlideId=&quot;2e4828ee-c08b-477a-b738-c1792a7429ac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41.87549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1e5e0ee6-9e84-43ab-bf56-c1477f949458&quot; parentId=&quot;&quot; level=&quot;1&quot; generateAgendaSlide=&quot;1&quot; showAgendaItem=&quot;1&quot; isBreak=&quot;0&quot; topic=&quot;New SCM processes&quot; agendaSlideId=&quot;896eb2ff-6dba-40dc-86e2-badab07e3b85&quot; /&gt;&lt;item duration=&quot;30&quot; id=&quot;c1ee5fd3-fedb-40a0-8de6-31fb9b1a938b&quot; parentId=&quot;&quot; level=&quot;1&quot; generateAgendaSlide=&quot;1&quot; showAgendaItem=&quot;1&quot; isBreak=&quot;0&quot; topic=&quot;Savings potential for FEC in core categories&quot; agendaSlideId=&quot;febaf09f-2a0a-4f39-a6fc-3e7c846ac181&quot; /&gt;&lt;item duration=&quot;30&quot; id=&quot;6207eee3-cbbb-4e77-a6a9-b9ec87d16e95&quot; parentId=&quot;&quot; level=&quot;1&quot; generateAgendaSlide=&quot;1&quot; showAgendaItem=&quot;1&quot; isBreak=&quot;0&quot; topic=&quot;Implementation plan&quot; agendaSlideId=&quot;7fe6d7f6-393d-4e6d-a3a8-4afff204fdf8&quot; /&gt;&lt;item duration=&quot;30&quot; id=&quot;4d4e3e2b-ef4e-40c7-becd-633c024bb38d&quot; parentId=&quot;&quot; level=&quot;1&quot; generateAgendaSlide=&quot;1&quot; showAgendaItem=&quot;1&quot; isBreak=&quot;0&quot; topic=&quot;Appendix&quot; agendaSlideId=&quot;6251fc86-40e0-487e-ab09-75a3909835e1&quot; /&gt;&lt;item duration=&quot;30&quot; id=&quot;5d600f20-5e80-4151-8177-02b2e79b4046&quot; parentId=&quot;4d4e3e2b-ef4e-40c7-becd-633c024bb38d&quot; level=&quot;2&quot; generateAgendaSlide=&quot;1&quot; showAgendaItem=&quot;1&quot; isBreak=&quot;0&quot; topic=&quot;Savings detail&quot; agendaSlideId=&quot;374978ed-a15d-4e6b-bb66-73c7d3c4b577&quot; /&gt;&lt;item duration=&quot;30&quot; id=&quot;7a9951d6-9bea-44d3-bb5e-49c64c75c890&quot; parentId=&quot;4d4e3e2b-ef4e-40c7-becd-633c024bb38d&quot; level=&quot;2&quot; generateAgendaSlide=&quot;1&quot; showAgendaItem=&quot;1&quot; isBreak=&quot;0&quot; topic=&quot;SCM processes detail&quot; agendaSlideId=&quot;ad16bc7e-9bc0-4f1c-a1c0-1ad97373ac56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6BbaRqTL2y3TrFt.Py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AUltm2TEemeAsmRJug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rqpHTTSIyIcZXmNSTOU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HwHFyoT.a6g._0flO1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HLYmAVTW.yuxDDG9Y5J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0Fn9RQfu_igyZC1xud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hr69h2RT23sLmBoBJJ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FyxytjSgq2PNoZ9Q8y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ZPEuGtQJeylPXaeLf_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chRhNnR3W1e19RjsbJp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6jDHPlRfmPvdLBPm..U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NF3sbzS.uUZWZW0KKo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4fcVslTLqqTpCNEv2U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LXdhdgQc2NBB8hKRn1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giFMvpStyd9wYC4Wd0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B_PVuhQbKnXL0ks0bZV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AGOJrWTeqUX0MIlA6X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hLwuwoSMaF.Q08m7Nd.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Ax3X6YRMGWlL5jT_qu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tcYW9aT2qs8wf.8FsN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1TOQV7TXilBRxjzcxV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aUdkQSTIW53i1Inl5hh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9gM5jsSF.s1GzJ0XKe0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QpQS.TTLGWHsBnGljH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X13GOhRWiFP2FjtN1Cu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x07auJT5udngrAaU77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JdE1m6QyWmvwGtpfIJ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csEkApTeaTP15M97hq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0lDXBrQGmYCIR1k6KrP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gruPDQ5SCSw5oJJAld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OSk7WsSOS1N7vvO4WN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2aaypnRreZqyrWO7gO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ll5rSsRbe1P0xRlVEBz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RyfwBtTmmcKcYDxdBhN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4ZEdlbTPe8qBYopbSd8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HwH3m_Sb29rKIfuw62c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sp9rC.SSSgkbhigHAR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4hfhUBTDyKXzPMaN9Hz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eP_ea5Qtqndv5wQKon2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haa9JcQ8Gqlc_cb950L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7cOsqzT2K2ZjTvRBTYT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i9sZZjRF22S1SGzJfhS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BJWv4BSw.IBUgk5xDCx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1_RXjkRNWEDiBnAD1mY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O0nQPR2a5vQHmC_TvY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_DqlxWSUKxc6fgP8HZ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ZyDqzbSBOw3UrcX2rx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2jJ3o5TneGOR29UNWQg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teOwoLTySgJnWIOKaPs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dq6_oBR4uQSIFMYJhr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a4NGjFRrOSfKZJlKszo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hyioe8TpGQzopQ4YBq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cShEI5RvqDnozz_0rxk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yjOEzKQuaF9CYgwRX0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D1hBm0Q0.NKwetqNr9Z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2x.OcyTZeaDhmCXY2Ax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vLLRKnTYadKWmu.qA3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R3oUq_SLqVXTKuiF3s6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WXVplpRjSHIBFSjDn2L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tjOIzTCei7wA33Y1En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.tI0bFTmeFufiXSJZbP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FWBTdxQXiDmnCVGnv06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JVZeEyTFGaQZkFdv10M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4NSFANQYuVQ2WShMQCx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3AvWu6TZyScXXkaGJzT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ZMbmJIRwmQQU3sC8l8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FfpJlJT7KH87Io5ic05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kkQxwXR4G2hgY4ehBZa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9jefuGSFOiwYFOTqdAu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XWeYjTWOMJm6N1Wt1l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3UwVykQSywOty13jur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HY5klKRfO2Sslndm0qV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5NJl0hRnCNZx6bTNAvK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813AALSqaWAdTlIgACM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J.Buc3QLKcvjypxE6ax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Z4lRH7SgWMHuLsMsLlP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QFbtlTPOlg7S8SJJDn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66PEpSRbeiiCNwoMy7L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_1u6CITWKo2ksVIFXK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GSb2fQg2jsWzpDoc9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U7FPcxTzKhA3AEnTJk0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UVKcEqR4mJ6tKh.3YM4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"/>
  <p:tag name="EE4P_LAYOUT_ID" val="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d834dcac-d943-433b-ba75-914910858bff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72858/71.53472/271.5024/274.732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e6d7f6-393d-4e6d-a3a8-4afff204fdf8_Topic"/>
  <p:tag name="EE4P_AGENDAWIZARD_CONTENT" val="/Implementation plan"/>
  <p:tag name="EE4P_AGENDAWIZARD_PROPERTIES" val="395.4111/206.0225/473.2014/29.5558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ebaf09f-2a0a-4f39-a6fc-3e7c846ac181_Topic"/>
  <p:tag name="EE4P_AGENDAWIZARD_CONTENT" val="/Savings potential for FEC in core categories"/>
  <p:tag name="EE4P_AGENDAWIZARD_PROPERTIES" val="395.4111/161.4667/473.2014/29.5558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896eb2ff-6dba-40dc-86e2-badab07e3b85_Topic"/>
  <p:tag name="EE4P_AGENDAWIZARD_CONTENT" val="/New SCM processes"/>
  <p:tag name="EE4P_AGENDAWIZARD_PROPERTIES" val="395.4111/116.9109/473.2014/29.5558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96eb2ff-6dba-40dc-86e2-badab07e3b8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New SCM processes"/>
  <p:tag name="EE4P_AGENDAWIZARD_PROPERTIES" val="101.1609/210.082/758.6493/252.258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2"/>
  <p:tag name="EE4P_LAYOUT_ID" val="K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57YKZUTh6ZwYhRETrPn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K2IDgSX27eMNACCBz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NfWWNqSrSr__4hhl26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kw5XKZRfigIWK7EuM5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Frontera Energy Grid 16:9">
  <a:themeElements>
    <a:clrScheme name="Custom 1">
      <a:dk1>
        <a:srgbClr val="7F7F7F"/>
      </a:dk1>
      <a:lt1>
        <a:sysClr val="window" lastClr="FFFFFF"/>
      </a:lt1>
      <a:dk2>
        <a:srgbClr val="B61872"/>
      </a:dk2>
      <a:lt2>
        <a:srgbClr val="F2F2F2"/>
      </a:lt2>
      <a:accent1>
        <a:srgbClr val="580C37"/>
      </a:accent1>
      <a:accent2>
        <a:srgbClr val="A3156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B61872"/>
        </a:solidFill>
        <a:ln w="9525" cap="rnd" cmpd="sng" algn="ctr">
          <a:solidFill>
            <a:srgbClr val="B6187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7F7F7F"/>
          </a:solidFill>
          <a:prstDash val="sysDot"/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480</TotalTime>
  <Words>2359</Words>
  <Application>Microsoft Office PowerPoint</Application>
  <PresentationFormat>Panorámica</PresentationFormat>
  <Paragraphs>473</Paragraphs>
  <Slides>22</Slides>
  <Notes>18</Notes>
  <HiddenSlides>2</HiddenSlides>
  <MMClips>0</MMClips>
  <ScaleCrop>false</ScaleCrop>
  <HeadingPairs>
    <vt:vector size="10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  <vt:variant>
        <vt:lpstr>Presentaciones personalizadas</vt:lpstr>
      </vt:variant>
      <vt:variant>
        <vt:i4>1</vt:i4>
      </vt:variant>
    </vt:vector>
  </HeadingPairs>
  <TitlesOfParts>
    <vt:vector size="27" baseType="lpstr">
      <vt:lpstr>Arial</vt:lpstr>
      <vt:lpstr>Trebuchet MS</vt:lpstr>
      <vt:lpstr>Frontera Energy Grid 16:9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CM should cover four key functions for effective Category Management</vt:lpstr>
      <vt:lpstr>SCM processes redesign considered four guiding principles</vt:lpstr>
      <vt:lpstr>New sourcing strategic planning process ensures clear understanding of demand to allow optimal sourcing</vt:lpstr>
      <vt:lpstr>New process includes historic spend analysis &amp; market analysis to define optimal sourcing strategies by category</vt:lpstr>
      <vt:lpstr>Alignment with corporate planning process will ensure accurate demand forecasts</vt:lpstr>
      <vt:lpstr>FEC will define a sourcing strategy for each category Strategy analysis will be broader for critical top spend categories</vt:lpstr>
      <vt:lpstr>Sourcing process was redesigned considering identified optimization opportunities in diagnosis</vt:lpstr>
      <vt:lpstr>Redesigned sourcing process will be focused on agile execution and robust negotiation stages</vt:lpstr>
      <vt:lpstr>Specific activities for local vendor sourcing will ensure structured and comprehensive approach to local contracting</vt:lpstr>
      <vt:lpstr>Efficiencies in process allow for ~25-40% reduction in sourcing time for all purchase requirements</vt:lpstr>
      <vt:lpstr>Differentiated mandatory and process controls for categories were defined based on criticality, spend and delegation</vt:lpstr>
      <vt:lpstr>New contract management process clarifies responsibilities and promotes role segregation</vt:lpstr>
      <vt:lpstr>New contract management process assigns most management tasks to a dedicated Project Service Officer</vt:lpstr>
      <vt:lpstr>Mgmt. tasks will be split be between the Project Service Officer, in charge of strategic view, and the contract administrator, in charge of admin. tasks</vt:lpstr>
      <vt:lpstr>New tiered supplier performance evaluation in line with category criticality and spend</vt:lpstr>
      <vt:lpstr>New supplier performance process created to formalize performance evaluations and standardize methodology</vt:lpstr>
      <vt:lpstr>Presentación de PowerPoint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e Boston Consulting Group</dc:creator>
  <cp:keywords/>
  <dc:description/>
  <cp:lastModifiedBy>Didier Pedraza Marin</cp:lastModifiedBy>
  <cp:revision>1422</cp:revision>
  <cp:lastPrinted>2000-01-01T05:00:00Z</cp:lastPrinted>
  <dcterms:created xsi:type="dcterms:W3CDTF">2018-10-04T21:07:07Z</dcterms:created>
  <dcterms:modified xsi:type="dcterms:W3CDTF">2019-01-10T12:39:5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